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17"/>
  </p:notesMasterIdLst>
  <p:sldIdLst>
    <p:sldId id="5115" r:id="rId3"/>
    <p:sldId id="5129" r:id="rId4"/>
    <p:sldId id="5116" r:id="rId5"/>
    <p:sldId id="5119" r:id="rId6"/>
    <p:sldId id="5120" r:id="rId7"/>
    <p:sldId id="5131" r:id="rId8"/>
    <p:sldId id="5133" r:id="rId9"/>
    <p:sldId id="5134" r:id="rId10"/>
    <p:sldId id="5135" r:id="rId11"/>
    <p:sldId id="5136" r:id="rId12"/>
    <p:sldId id="5123" r:id="rId13"/>
    <p:sldId id="5124" r:id="rId14"/>
    <p:sldId id="5125" r:id="rId15"/>
    <p:sldId id="5128" r:id="rId16"/>
  </p:sldIdLst>
  <p:sldSz cx="12192000" cy="6858000"/>
  <p:notesSz cx="6735763" cy="9866313"/>
  <p:custDataLst>
    <p:tags r:id="rId1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42" userDrawn="1">
          <p15:clr>
            <a:srgbClr val="A4A3A4"/>
          </p15:clr>
        </p15:guide>
        <p15:guide id="2" pos="60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  <a:srgbClr val="D9D9D9"/>
    <a:srgbClr val="993366"/>
    <a:srgbClr val="EFEFEF"/>
    <a:srgbClr val="00FF00"/>
    <a:srgbClr val="FF99FF"/>
    <a:srgbClr val="CC0099"/>
    <a:srgbClr val="339966"/>
    <a:srgbClr val="CC9900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2DE63D5-997A-4646-A377-4702673A728D}" styleName="Světlý styl 2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6400" autoAdjust="0"/>
  </p:normalViewPr>
  <p:slideViewPr>
    <p:cSldViewPr snapToGrid="0">
      <p:cViewPr varScale="1">
        <p:scale>
          <a:sx n="62" d="100"/>
          <a:sy n="62" d="100"/>
        </p:scale>
        <p:origin x="1032" y="56"/>
      </p:cViewPr>
      <p:guideLst>
        <p:guide orient="horz" pos="4042"/>
        <p:guide pos="60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530A7A1-3217-42A6-9A25-AA507C99A73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cs-CZ"/>
        </a:p>
      </dgm:t>
    </dgm:pt>
    <dgm:pt modelId="{5A7B5328-FB97-48E7-B1B5-9DB30C1AB996}">
      <dgm:prSet/>
      <dgm:spPr/>
      <dgm:t>
        <a:bodyPr/>
        <a:lstStyle/>
        <a:p>
          <a:r>
            <a:rPr lang="cs-CZ" b="1"/>
            <a:t>KA1</a:t>
          </a:r>
          <a:r>
            <a:rPr lang="cs-CZ"/>
            <a:t>: Vytvoření systému sekundární klasifikace případů </a:t>
          </a:r>
        </a:p>
      </dgm:t>
    </dgm:pt>
    <dgm:pt modelId="{F605E9D8-1F26-442A-9AC2-7287FF3BB323}" type="parTrans" cxnId="{D091E6BE-9352-4DC4-BF7C-0E0A19CC58D5}">
      <dgm:prSet/>
      <dgm:spPr/>
      <dgm:t>
        <a:bodyPr/>
        <a:lstStyle/>
        <a:p>
          <a:endParaRPr lang="cs-CZ"/>
        </a:p>
      </dgm:t>
    </dgm:pt>
    <dgm:pt modelId="{51199A49-2FB1-4CA0-91DD-5A967343E442}" type="sibTrans" cxnId="{D091E6BE-9352-4DC4-BF7C-0E0A19CC58D5}">
      <dgm:prSet/>
      <dgm:spPr/>
      <dgm:t>
        <a:bodyPr/>
        <a:lstStyle/>
        <a:p>
          <a:endParaRPr lang="cs-CZ"/>
        </a:p>
      </dgm:t>
    </dgm:pt>
    <dgm:pt modelId="{866363C6-5BEE-4FDC-954C-FA0D53541687}">
      <dgm:prSet/>
      <dgm:spPr/>
      <dgm:t>
        <a:bodyPr/>
        <a:lstStyle/>
        <a:p>
          <a:r>
            <a:rPr lang="cs-CZ" b="1" dirty="0"/>
            <a:t>KA2</a:t>
          </a:r>
          <a:r>
            <a:rPr lang="cs-CZ" dirty="0"/>
            <a:t>: Ustavení referenční sítě a sběr dat pro nacenění nákladovosti péče a tvorba úhradových modelů </a:t>
          </a:r>
        </a:p>
      </dgm:t>
    </dgm:pt>
    <dgm:pt modelId="{08D5D034-E3B3-470B-8F9A-1E6D043C4127}" type="parTrans" cxnId="{1718CA70-9779-49D1-809E-856AF8FC0DBD}">
      <dgm:prSet/>
      <dgm:spPr/>
      <dgm:t>
        <a:bodyPr/>
        <a:lstStyle/>
        <a:p>
          <a:endParaRPr lang="cs-CZ"/>
        </a:p>
      </dgm:t>
    </dgm:pt>
    <dgm:pt modelId="{EF28CDAB-64B8-443C-82C0-5EBD2D7A79E2}" type="sibTrans" cxnId="{1718CA70-9779-49D1-809E-856AF8FC0DBD}">
      <dgm:prSet/>
      <dgm:spPr/>
      <dgm:t>
        <a:bodyPr/>
        <a:lstStyle/>
        <a:p>
          <a:endParaRPr lang="cs-CZ"/>
        </a:p>
      </dgm:t>
    </dgm:pt>
    <dgm:pt modelId="{665A51D6-5A95-4AD4-BC65-008066DC4D22}">
      <dgm:prSet/>
      <dgm:spPr/>
      <dgm:t>
        <a:bodyPr/>
        <a:lstStyle/>
        <a:p>
          <a:r>
            <a:rPr lang="cs-CZ" b="1"/>
            <a:t>KA3</a:t>
          </a:r>
          <a:r>
            <a:rPr lang="cs-CZ"/>
            <a:t>: Tvorba katalogu zdravotních a sociálních služeb </a:t>
          </a:r>
        </a:p>
      </dgm:t>
    </dgm:pt>
    <dgm:pt modelId="{1583EA95-CB13-4967-B5CE-A1CC7983DDDD}" type="parTrans" cxnId="{C35E159A-54CD-43B9-BF39-670F6998C864}">
      <dgm:prSet/>
      <dgm:spPr/>
      <dgm:t>
        <a:bodyPr/>
        <a:lstStyle/>
        <a:p>
          <a:endParaRPr lang="cs-CZ"/>
        </a:p>
      </dgm:t>
    </dgm:pt>
    <dgm:pt modelId="{1ADE6094-5DA3-428E-A3B0-BFA0B2A82D02}" type="sibTrans" cxnId="{C35E159A-54CD-43B9-BF39-670F6998C864}">
      <dgm:prSet/>
      <dgm:spPr/>
      <dgm:t>
        <a:bodyPr/>
        <a:lstStyle/>
        <a:p>
          <a:endParaRPr lang="cs-CZ"/>
        </a:p>
      </dgm:t>
    </dgm:pt>
    <dgm:pt modelId="{3F75B914-C669-480C-B7C6-EE02E9804F73}">
      <dgm:prSet/>
      <dgm:spPr/>
      <dgm:t>
        <a:bodyPr/>
        <a:lstStyle/>
        <a:p>
          <a:r>
            <a:rPr lang="cs-CZ" b="1"/>
            <a:t>KA4</a:t>
          </a:r>
          <a:r>
            <a:rPr lang="cs-CZ"/>
            <a:t>: Tvorba doporučených postupů a indikátorů kvality pro domácí péči</a:t>
          </a:r>
        </a:p>
      </dgm:t>
    </dgm:pt>
    <dgm:pt modelId="{A5E014F2-026D-428D-A8E4-B2D553D66FE7}" type="parTrans" cxnId="{F87CFE45-3BCB-40EF-A296-D81E34CF0FA7}">
      <dgm:prSet/>
      <dgm:spPr/>
      <dgm:t>
        <a:bodyPr/>
        <a:lstStyle/>
        <a:p>
          <a:endParaRPr lang="cs-CZ"/>
        </a:p>
      </dgm:t>
    </dgm:pt>
    <dgm:pt modelId="{ACC14207-02F4-4D4D-A7B5-7B31845B78F4}" type="sibTrans" cxnId="{F87CFE45-3BCB-40EF-A296-D81E34CF0FA7}">
      <dgm:prSet/>
      <dgm:spPr/>
      <dgm:t>
        <a:bodyPr/>
        <a:lstStyle/>
        <a:p>
          <a:endParaRPr lang="cs-CZ"/>
        </a:p>
      </dgm:t>
    </dgm:pt>
    <dgm:pt modelId="{0F962580-F976-4A2B-B5E5-C717C9F23E42}">
      <dgm:prSet/>
      <dgm:spPr/>
      <dgm:t>
        <a:bodyPr/>
        <a:lstStyle/>
        <a:p>
          <a:r>
            <a:rPr lang="cs-CZ" b="1"/>
            <a:t>KA5</a:t>
          </a:r>
          <a:r>
            <a:rPr lang="cs-CZ"/>
            <a:t>: Řízení referenční sítě a interního projektového týmu, administrace a publicita projektu </a:t>
          </a:r>
        </a:p>
      </dgm:t>
    </dgm:pt>
    <dgm:pt modelId="{71F89926-62CA-44B3-ABED-06FBF3400C27}" type="parTrans" cxnId="{104C770B-103F-4549-8EC3-703E8AB2C7CA}">
      <dgm:prSet/>
      <dgm:spPr/>
      <dgm:t>
        <a:bodyPr/>
        <a:lstStyle/>
        <a:p>
          <a:endParaRPr lang="cs-CZ"/>
        </a:p>
      </dgm:t>
    </dgm:pt>
    <dgm:pt modelId="{D91F6557-63E0-4BD4-B34A-C58C956EF636}" type="sibTrans" cxnId="{104C770B-103F-4549-8EC3-703E8AB2C7CA}">
      <dgm:prSet/>
      <dgm:spPr/>
      <dgm:t>
        <a:bodyPr/>
        <a:lstStyle/>
        <a:p>
          <a:endParaRPr lang="cs-CZ"/>
        </a:p>
      </dgm:t>
    </dgm:pt>
    <dgm:pt modelId="{F1CBF3FA-E61A-4A45-9743-6A81FAC03376}" type="pres">
      <dgm:prSet presAssocID="{1530A7A1-3217-42A6-9A25-AA507C99A730}" presName="linear" presStyleCnt="0">
        <dgm:presLayoutVars>
          <dgm:animLvl val="lvl"/>
          <dgm:resizeHandles val="exact"/>
        </dgm:presLayoutVars>
      </dgm:prSet>
      <dgm:spPr/>
    </dgm:pt>
    <dgm:pt modelId="{85C15441-7B22-40DE-9716-31064610AAA2}" type="pres">
      <dgm:prSet presAssocID="{5A7B5328-FB97-48E7-B1B5-9DB30C1AB996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7A53384D-B875-4E67-AE44-689E3CDD9E27}" type="pres">
      <dgm:prSet presAssocID="{51199A49-2FB1-4CA0-91DD-5A967343E442}" presName="spacer" presStyleCnt="0"/>
      <dgm:spPr/>
    </dgm:pt>
    <dgm:pt modelId="{B5B5E212-528B-405C-95D9-FE178E807BCC}" type="pres">
      <dgm:prSet presAssocID="{866363C6-5BEE-4FDC-954C-FA0D53541687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74E47896-CF4E-4901-B876-9549EEA6AE0D}" type="pres">
      <dgm:prSet presAssocID="{EF28CDAB-64B8-443C-82C0-5EBD2D7A79E2}" presName="spacer" presStyleCnt="0"/>
      <dgm:spPr/>
    </dgm:pt>
    <dgm:pt modelId="{937C7E88-9CB8-45A2-A3C1-9EEB7EE3106B}" type="pres">
      <dgm:prSet presAssocID="{665A51D6-5A95-4AD4-BC65-008066DC4D22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68E3A581-E8C7-4D71-9720-1003EF4AC15B}" type="pres">
      <dgm:prSet presAssocID="{1ADE6094-5DA3-428E-A3B0-BFA0B2A82D02}" presName="spacer" presStyleCnt="0"/>
      <dgm:spPr/>
    </dgm:pt>
    <dgm:pt modelId="{FB8A40CA-BBEB-4914-9B2E-5BD4A679CBB8}" type="pres">
      <dgm:prSet presAssocID="{3F75B914-C669-480C-B7C6-EE02E9804F73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67121C52-7936-49BD-958A-647558D01000}" type="pres">
      <dgm:prSet presAssocID="{ACC14207-02F4-4D4D-A7B5-7B31845B78F4}" presName="spacer" presStyleCnt="0"/>
      <dgm:spPr/>
    </dgm:pt>
    <dgm:pt modelId="{3736F39C-D71E-4EDF-88A3-1C240BD0CA5A}" type="pres">
      <dgm:prSet presAssocID="{0F962580-F976-4A2B-B5E5-C717C9F23E42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D011D208-C46F-49E1-8F15-C36B6F356EBD}" type="presOf" srcId="{3F75B914-C669-480C-B7C6-EE02E9804F73}" destId="{FB8A40CA-BBEB-4914-9B2E-5BD4A679CBB8}" srcOrd="0" destOrd="0" presId="urn:microsoft.com/office/officeart/2005/8/layout/vList2"/>
    <dgm:cxn modelId="{104C770B-103F-4549-8EC3-703E8AB2C7CA}" srcId="{1530A7A1-3217-42A6-9A25-AA507C99A730}" destId="{0F962580-F976-4A2B-B5E5-C717C9F23E42}" srcOrd="4" destOrd="0" parTransId="{71F89926-62CA-44B3-ABED-06FBF3400C27}" sibTransId="{D91F6557-63E0-4BD4-B34A-C58C956EF636}"/>
    <dgm:cxn modelId="{8EEC750D-7AE6-46DC-B68B-F340D06F7241}" type="presOf" srcId="{665A51D6-5A95-4AD4-BC65-008066DC4D22}" destId="{937C7E88-9CB8-45A2-A3C1-9EEB7EE3106B}" srcOrd="0" destOrd="0" presId="urn:microsoft.com/office/officeart/2005/8/layout/vList2"/>
    <dgm:cxn modelId="{A009AC1C-ECDD-45BE-9FA6-6DC0F4D042A4}" type="presOf" srcId="{1530A7A1-3217-42A6-9A25-AA507C99A730}" destId="{F1CBF3FA-E61A-4A45-9743-6A81FAC03376}" srcOrd="0" destOrd="0" presId="urn:microsoft.com/office/officeart/2005/8/layout/vList2"/>
    <dgm:cxn modelId="{F87CFE45-3BCB-40EF-A296-D81E34CF0FA7}" srcId="{1530A7A1-3217-42A6-9A25-AA507C99A730}" destId="{3F75B914-C669-480C-B7C6-EE02E9804F73}" srcOrd="3" destOrd="0" parTransId="{A5E014F2-026D-428D-A8E4-B2D553D66FE7}" sibTransId="{ACC14207-02F4-4D4D-A7B5-7B31845B78F4}"/>
    <dgm:cxn modelId="{E916AF6A-D7AB-4BB4-94AF-C30D40CA8389}" type="presOf" srcId="{5A7B5328-FB97-48E7-B1B5-9DB30C1AB996}" destId="{85C15441-7B22-40DE-9716-31064610AAA2}" srcOrd="0" destOrd="0" presId="urn:microsoft.com/office/officeart/2005/8/layout/vList2"/>
    <dgm:cxn modelId="{5A698F4C-03DA-4EF0-8C53-58B202E54FA7}" type="presOf" srcId="{866363C6-5BEE-4FDC-954C-FA0D53541687}" destId="{B5B5E212-528B-405C-95D9-FE178E807BCC}" srcOrd="0" destOrd="0" presId="urn:microsoft.com/office/officeart/2005/8/layout/vList2"/>
    <dgm:cxn modelId="{1718CA70-9779-49D1-809E-856AF8FC0DBD}" srcId="{1530A7A1-3217-42A6-9A25-AA507C99A730}" destId="{866363C6-5BEE-4FDC-954C-FA0D53541687}" srcOrd="1" destOrd="0" parTransId="{08D5D034-E3B3-470B-8F9A-1E6D043C4127}" sibTransId="{EF28CDAB-64B8-443C-82C0-5EBD2D7A79E2}"/>
    <dgm:cxn modelId="{C35E159A-54CD-43B9-BF39-670F6998C864}" srcId="{1530A7A1-3217-42A6-9A25-AA507C99A730}" destId="{665A51D6-5A95-4AD4-BC65-008066DC4D22}" srcOrd="2" destOrd="0" parTransId="{1583EA95-CB13-4967-B5CE-A1CC7983DDDD}" sibTransId="{1ADE6094-5DA3-428E-A3B0-BFA0B2A82D02}"/>
    <dgm:cxn modelId="{D091E6BE-9352-4DC4-BF7C-0E0A19CC58D5}" srcId="{1530A7A1-3217-42A6-9A25-AA507C99A730}" destId="{5A7B5328-FB97-48E7-B1B5-9DB30C1AB996}" srcOrd="0" destOrd="0" parTransId="{F605E9D8-1F26-442A-9AC2-7287FF3BB323}" sibTransId="{51199A49-2FB1-4CA0-91DD-5A967343E442}"/>
    <dgm:cxn modelId="{5EC1CEFC-1A42-4CD3-9FDD-7C8FC7BD4FBA}" type="presOf" srcId="{0F962580-F976-4A2B-B5E5-C717C9F23E42}" destId="{3736F39C-D71E-4EDF-88A3-1C240BD0CA5A}" srcOrd="0" destOrd="0" presId="urn:microsoft.com/office/officeart/2005/8/layout/vList2"/>
    <dgm:cxn modelId="{C09209BF-4F5C-4665-BC8A-A2A5D0A19838}" type="presParOf" srcId="{F1CBF3FA-E61A-4A45-9743-6A81FAC03376}" destId="{85C15441-7B22-40DE-9716-31064610AAA2}" srcOrd="0" destOrd="0" presId="urn:microsoft.com/office/officeart/2005/8/layout/vList2"/>
    <dgm:cxn modelId="{DE1BB6F8-475F-417F-88F4-488EFD4F29EE}" type="presParOf" srcId="{F1CBF3FA-E61A-4A45-9743-6A81FAC03376}" destId="{7A53384D-B875-4E67-AE44-689E3CDD9E27}" srcOrd="1" destOrd="0" presId="urn:microsoft.com/office/officeart/2005/8/layout/vList2"/>
    <dgm:cxn modelId="{CC251CBC-AC6C-4446-8798-BC5147C35FDA}" type="presParOf" srcId="{F1CBF3FA-E61A-4A45-9743-6A81FAC03376}" destId="{B5B5E212-528B-405C-95D9-FE178E807BCC}" srcOrd="2" destOrd="0" presId="urn:microsoft.com/office/officeart/2005/8/layout/vList2"/>
    <dgm:cxn modelId="{990CB246-60E3-42E8-892F-7E5540EC26F7}" type="presParOf" srcId="{F1CBF3FA-E61A-4A45-9743-6A81FAC03376}" destId="{74E47896-CF4E-4901-B876-9549EEA6AE0D}" srcOrd="3" destOrd="0" presId="urn:microsoft.com/office/officeart/2005/8/layout/vList2"/>
    <dgm:cxn modelId="{65DC3E07-6FA7-459F-A6E5-8ECB3A8CDA0A}" type="presParOf" srcId="{F1CBF3FA-E61A-4A45-9743-6A81FAC03376}" destId="{937C7E88-9CB8-45A2-A3C1-9EEB7EE3106B}" srcOrd="4" destOrd="0" presId="urn:microsoft.com/office/officeart/2005/8/layout/vList2"/>
    <dgm:cxn modelId="{35228E24-2C2C-46EA-A2D9-07E9CFB69CE3}" type="presParOf" srcId="{F1CBF3FA-E61A-4A45-9743-6A81FAC03376}" destId="{68E3A581-E8C7-4D71-9720-1003EF4AC15B}" srcOrd="5" destOrd="0" presId="urn:microsoft.com/office/officeart/2005/8/layout/vList2"/>
    <dgm:cxn modelId="{96338034-B6A3-4EA6-8AC4-68009E42783F}" type="presParOf" srcId="{F1CBF3FA-E61A-4A45-9743-6A81FAC03376}" destId="{FB8A40CA-BBEB-4914-9B2E-5BD4A679CBB8}" srcOrd="6" destOrd="0" presId="urn:microsoft.com/office/officeart/2005/8/layout/vList2"/>
    <dgm:cxn modelId="{45AD62B6-ED9E-404D-B3F3-45A04DC72241}" type="presParOf" srcId="{F1CBF3FA-E61A-4A45-9743-6A81FAC03376}" destId="{67121C52-7936-49BD-958A-647558D01000}" srcOrd="7" destOrd="0" presId="urn:microsoft.com/office/officeart/2005/8/layout/vList2"/>
    <dgm:cxn modelId="{319672F2-62D1-49C2-AFA9-0C4461ADFD46}" type="presParOf" srcId="{F1CBF3FA-E61A-4A45-9743-6A81FAC03376}" destId="{3736F39C-D71E-4EDF-88A3-1C240BD0CA5A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A5396A8-5869-41DE-ABBC-631612607560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0638F7B-670F-4440-AA70-1653453B307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cs-CZ" sz="1600" dirty="0"/>
            <a:t>Spravedlivější a efektivnější financování</a:t>
          </a:r>
          <a:endParaRPr lang="en-US" sz="1600" dirty="0"/>
        </a:p>
      </dgm:t>
    </dgm:pt>
    <dgm:pt modelId="{87DBC026-018E-4646-B92E-B345763891CA}" type="parTrans" cxnId="{68A8D415-6D6B-48AC-A8F5-78AFEAC08042}">
      <dgm:prSet/>
      <dgm:spPr/>
      <dgm:t>
        <a:bodyPr/>
        <a:lstStyle/>
        <a:p>
          <a:endParaRPr lang="en-US"/>
        </a:p>
      </dgm:t>
    </dgm:pt>
    <dgm:pt modelId="{EA76F3AB-2AC3-49D2-8D1B-FDFB598EE37C}" type="sibTrans" cxnId="{68A8D415-6D6B-48AC-A8F5-78AFEAC08042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850BBB14-DA50-4CFF-85F0-5D394108621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cs-CZ" sz="1600" b="0" dirty="0"/>
            <a:t>Lepší orientace na služby pro pacienty a pečovatele</a:t>
          </a:r>
          <a:endParaRPr lang="en-US" sz="1600" b="0" dirty="0"/>
        </a:p>
      </dgm:t>
    </dgm:pt>
    <dgm:pt modelId="{23CA05FE-A6B8-480C-9682-4CB98F85BB37}" type="parTrans" cxnId="{D2DED3A4-73A6-41FD-B3D8-9E6D4DB2C05F}">
      <dgm:prSet/>
      <dgm:spPr/>
      <dgm:t>
        <a:bodyPr/>
        <a:lstStyle/>
        <a:p>
          <a:endParaRPr lang="en-US"/>
        </a:p>
      </dgm:t>
    </dgm:pt>
    <dgm:pt modelId="{281ED3DE-EFB6-472A-BF34-5F8427E04E3F}" type="sibTrans" cxnId="{D2DED3A4-73A6-41FD-B3D8-9E6D4DB2C05F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B7025083-69EB-4858-A6FA-AC0E2EA885C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cs-CZ" sz="1600" dirty="0"/>
            <a:t>Silnější datová infrastruktura a národní koordinace</a:t>
          </a:r>
          <a:endParaRPr lang="en-US" sz="1600" dirty="0"/>
        </a:p>
      </dgm:t>
    </dgm:pt>
    <dgm:pt modelId="{88CC4D4A-4DA4-4853-A927-817EDCD22F9E}" type="parTrans" cxnId="{DF0022C7-BB40-4D7F-9A85-2F56A3B484D9}">
      <dgm:prSet/>
      <dgm:spPr/>
      <dgm:t>
        <a:bodyPr/>
        <a:lstStyle/>
        <a:p>
          <a:endParaRPr lang="en-US"/>
        </a:p>
      </dgm:t>
    </dgm:pt>
    <dgm:pt modelId="{8E255930-1598-44BF-B08B-35EABBAF5499}" type="sibTrans" cxnId="{DF0022C7-BB40-4D7F-9A85-2F56A3B484D9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DBE3F10B-B9E7-4985-9FDF-DD05AD51F679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cs-CZ" sz="1600" dirty="0"/>
            <a:t>Zvýšená odolnost zdravotního systému</a:t>
          </a:r>
          <a:endParaRPr lang="en-US" sz="1600" dirty="0"/>
        </a:p>
      </dgm:t>
    </dgm:pt>
    <dgm:pt modelId="{F56167E1-C2D6-44A6-B755-45F6111895F5}" type="parTrans" cxnId="{995F8847-3D6A-4154-A0A9-EF4ABE7FB0BB}">
      <dgm:prSet/>
      <dgm:spPr/>
      <dgm:t>
        <a:bodyPr/>
        <a:lstStyle/>
        <a:p>
          <a:endParaRPr lang="en-US"/>
        </a:p>
      </dgm:t>
    </dgm:pt>
    <dgm:pt modelId="{6E16E1BE-2FBE-474B-B552-729026D6525B}" type="sibTrans" cxnId="{995F8847-3D6A-4154-A0A9-EF4ABE7FB0BB}">
      <dgm:prSet/>
      <dgm:spPr/>
      <dgm:t>
        <a:bodyPr/>
        <a:lstStyle/>
        <a:p>
          <a:endParaRPr lang="en-US"/>
        </a:p>
      </dgm:t>
    </dgm:pt>
    <dgm:pt modelId="{E4D0FCAF-9F9D-4494-9E35-41C310BF6913}" type="pres">
      <dgm:prSet presAssocID="{AA5396A8-5869-41DE-ABBC-631612607560}" presName="root" presStyleCnt="0">
        <dgm:presLayoutVars>
          <dgm:dir/>
          <dgm:resizeHandles val="exact"/>
        </dgm:presLayoutVars>
      </dgm:prSet>
      <dgm:spPr/>
    </dgm:pt>
    <dgm:pt modelId="{A5860E8C-A6CF-4F83-ABF3-C0C2BD093C87}" type="pres">
      <dgm:prSet presAssocID="{AA5396A8-5869-41DE-ABBC-631612607560}" presName="container" presStyleCnt="0">
        <dgm:presLayoutVars>
          <dgm:dir/>
          <dgm:resizeHandles val="exact"/>
        </dgm:presLayoutVars>
      </dgm:prSet>
      <dgm:spPr/>
    </dgm:pt>
    <dgm:pt modelId="{87660524-FF73-438A-A1E1-12A7CC2868AA}" type="pres">
      <dgm:prSet presAssocID="{90638F7B-670F-4440-AA70-1653453B3076}" presName="compNode" presStyleCnt="0"/>
      <dgm:spPr/>
    </dgm:pt>
    <dgm:pt modelId="{30037F46-F932-4783-851E-F7DE7294581B}" type="pres">
      <dgm:prSet presAssocID="{90638F7B-670F-4440-AA70-1653453B3076}" presName="iconBgRect" presStyleLbl="bgShp" presStyleIdx="0" presStyleCnt="4"/>
      <dgm:spPr/>
    </dgm:pt>
    <dgm:pt modelId="{2A89B979-038C-429B-B20F-C44024A7A260}" type="pres">
      <dgm:prSet presAssocID="{90638F7B-670F-4440-AA70-1653453B3076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eníze"/>
        </a:ext>
      </dgm:extLst>
    </dgm:pt>
    <dgm:pt modelId="{B48A6077-8526-4AB7-A781-64162036ED42}" type="pres">
      <dgm:prSet presAssocID="{90638F7B-670F-4440-AA70-1653453B3076}" presName="spaceRect" presStyleCnt="0"/>
      <dgm:spPr/>
    </dgm:pt>
    <dgm:pt modelId="{FE161478-8BE5-4775-B110-68060DF472A7}" type="pres">
      <dgm:prSet presAssocID="{90638F7B-670F-4440-AA70-1653453B3076}" presName="textRect" presStyleLbl="revTx" presStyleIdx="0" presStyleCnt="4">
        <dgm:presLayoutVars>
          <dgm:chMax val="1"/>
          <dgm:chPref val="1"/>
        </dgm:presLayoutVars>
      </dgm:prSet>
      <dgm:spPr/>
    </dgm:pt>
    <dgm:pt modelId="{93F8411E-4AA5-43EE-AD2A-9209A5760495}" type="pres">
      <dgm:prSet presAssocID="{EA76F3AB-2AC3-49D2-8D1B-FDFB598EE37C}" presName="sibTrans" presStyleLbl="sibTrans2D1" presStyleIdx="0" presStyleCnt="0"/>
      <dgm:spPr/>
    </dgm:pt>
    <dgm:pt modelId="{E173F69A-5D7C-4BA0-ADD7-B1D55C440269}" type="pres">
      <dgm:prSet presAssocID="{850BBB14-DA50-4CFF-85F0-5D3941086214}" presName="compNode" presStyleCnt="0"/>
      <dgm:spPr/>
    </dgm:pt>
    <dgm:pt modelId="{0AFBF73E-D7B6-4A72-A67E-AC484940782A}" type="pres">
      <dgm:prSet presAssocID="{850BBB14-DA50-4CFF-85F0-5D3941086214}" presName="iconBgRect" presStyleLbl="bgShp" presStyleIdx="1" presStyleCnt="4"/>
      <dgm:spPr/>
    </dgm:pt>
    <dgm:pt modelId="{0398AAE4-22DA-4E6C-A2D3-2FD0AFC197FF}" type="pres">
      <dgm:prSet presAssocID="{850BBB14-DA50-4CFF-85F0-5D3941086214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etoskop"/>
        </a:ext>
      </dgm:extLst>
    </dgm:pt>
    <dgm:pt modelId="{AC3F355F-088A-4ED0-B9C7-A2EEDE3CA9ED}" type="pres">
      <dgm:prSet presAssocID="{850BBB14-DA50-4CFF-85F0-5D3941086214}" presName="spaceRect" presStyleCnt="0"/>
      <dgm:spPr/>
    </dgm:pt>
    <dgm:pt modelId="{FFE6AF04-B968-42FD-B1DD-05842157510A}" type="pres">
      <dgm:prSet presAssocID="{850BBB14-DA50-4CFF-85F0-5D3941086214}" presName="textRect" presStyleLbl="revTx" presStyleIdx="1" presStyleCnt="4">
        <dgm:presLayoutVars>
          <dgm:chMax val="1"/>
          <dgm:chPref val="1"/>
        </dgm:presLayoutVars>
      </dgm:prSet>
      <dgm:spPr/>
    </dgm:pt>
    <dgm:pt modelId="{8A896A50-614C-4E94-B47D-927CC3AA1AF7}" type="pres">
      <dgm:prSet presAssocID="{281ED3DE-EFB6-472A-BF34-5F8427E04E3F}" presName="sibTrans" presStyleLbl="sibTrans2D1" presStyleIdx="0" presStyleCnt="0"/>
      <dgm:spPr/>
    </dgm:pt>
    <dgm:pt modelId="{F1472CD6-98F1-479B-8DFB-63E130C533D5}" type="pres">
      <dgm:prSet presAssocID="{B7025083-69EB-4858-A6FA-AC0E2EA885C6}" presName="compNode" presStyleCnt="0"/>
      <dgm:spPr/>
    </dgm:pt>
    <dgm:pt modelId="{EACDEA47-B7FD-4EF0-AD45-F63AA32A2541}" type="pres">
      <dgm:prSet presAssocID="{B7025083-69EB-4858-A6FA-AC0E2EA885C6}" presName="iconBgRect" presStyleLbl="bgShp" presStyleIdx="2" presStyleCnt="4"/>
      <dgm:spPr/>
    </dgm:pt>
    <dgm:pt modelId="{75F6092C-9A88-436C-BCE9-D38F138AE3EE}" type="pres">
      <dgm:prSet presAssocID="{B7025083-69EB-4858-A6FA-AC0E2EA885C6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otřesení rukou"/>
        </a:ext>
      </dgm:extLst>
    </dgm:pt>
    <dgm:pt modelId="{8E4912CC-F096-4692-8B97-8260DB2C9085}" type="pres">
      <dgm:prSet presAssocID="{B7025083-69EB-4858-A6FA-AC0E2EA885C6}" presName="spaceRect" presStyleCnt="0"/>
      <dgm:spPr/>
    </dgm:pt>
    <dgm:pt modelId="{2C014A9A-7062-4BF7-AF1D-185B6A758AD9}" type="pres">
      <dgm:prSet presAssocID="{B7025083-69EB-4858-A6FA-AC0E2EA885C6}" presName="textRect" presStyleLbl="revTx" presStyleIdx="2" presStyleCnt="4">
        <dgm:presLayoutVars>
          <dgm:chMax val="1"/>
          <dgm:chPref val="1"/>
        </dgm:presLayoutVars>
      </dgm:prSet>
      <dgm:spPr/>
    </dgm:pt>
    <dgm:pt modelId="{C04ED53E-F273-4030-B913-497732DC3B4E}" type="pres">
      <dgm:prSet presAssocID="{8E255930-1598-44BF-B08B-35EABBAF5499}" presName="sibTrans" presStyleLbl="sibTrans2D1" presStyleIdx="0" presStyleCnt="0"/>
      <dgm:spPr/>
    </dgm:pt>
    <dgm:pt modelId="{16932C66-8EF0-4F7F-A4E1-F8EB0FF348BD}" type="pres">
      <dgm:prSet presAssocID="{DBE3F10B-B9E7-4985-9FDF-DD05AD51F679}" presName="compNode" presStyleCnt="0"/>
      <dgm:spPr/>
    </dgm:pt>
    <dgm:pt modelId="{6C7E6E47-6C42-4214-8BD6-D00DA0EA8A59}" type="pres">
      <dgm:prSet presAssocID="{DBE3F10B-B9E7-4985-9FDF-DD05AD51F679}" presName="iconBgRect" presStyleLbl="bgShp" presStyleIdx="3" presStyleCnt="4"/>
      <dgm:spPr/>
    </dgm:pt>
    <dgm:pt modelId="{9099B2B2-AF22-4C8C-926D-A754612FC13C}" type="pres">
      <dgm:prSet presAssocID="{DBE3F10B-B9E7-4985-9FDF-DD05AD51F679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Zaškrtnutí"/>
        </a:ext>
      </dgm:extLst>
    </dgm:pt>
    <dgm:pt modelId="{5EE23E18-5D8F-4658-8A22-2F892B906089}" type="pres">
      <dgm:prSet presAssocID="{DBE3F10B-B9E7-4985-9FDF-DD05AD51F679}" presName="spaceRect" presStyleCnt="0"/>
      <dgm:spPr/>
    </dgm:pt>
    <dgm:pt modelId="{F79CECF4-DA0D-4C28-A10D-D13B02266BAE}" type="pres">
      <dgm:prSet presAssocID="{DBE3F10B-B9E7-4985-9FDF-DD05AD51F679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31E98A02-8B7A-4171-BB92-A547FB3A4648}" type="presOf" srcId="{850BBB14-DA50-4CFF-85F0-5D3941086214}" destId="{FFE6AF04-B968-42FD-B1DD-05842157510A}" srcOrd="0" destOrd="0" presId="urn:microsoft.com/office/officeart/2018/2/layout/IconCircleList"/>
    <dgm:cxn modelId="{68A8D415-6D6B-48AC-A8F5-78AFEAC08042}" srcId="{AA5396A8-5869-41DE-ABBC-631612607560}" destId="{90638F7B-670F-4440-AA70-1653453B3076}" srcOrd="0" destOrd="0" parTransId="{87DBC026-018E-4646-B92E-B345763891CA}" sibTransId="{EA76F3AB-2AC3-49D2-8D1B-FDFB598EE37C}"/>
    <dgm:cxn modelId="{137D2A23-8CDC-417F-8753-D4E878506431}" type="presOf" srcId="{281ED3DE-EFB6-472A-BF34-5F8427E04E3F}" destId="{8A896A50-614C-4E94-B47D-927CC3AA1AF7}" srcOrd="0" destOrd="0" presId="urn:microsoft.com/office/officeart/2018/2/layout/IconCircleList"/>
    <dgm:cxn modelId="{8887EE5C-28D0-4826-84D9-6BDD92C751A9}" type="presOf" srcId="{B7025083-69EB-4858-A6FA-AC0E2EA885C6}" destId="{2C014A9A-7062-4BF7-AF1D-185B6A758AD9}" srcOrd="0" destOrd="0" presId="urn:microsoft.com/office/officeart/2018/2/layout/IconCircleList"/>
    <dgm:cxn modelId="{995F8847-3D6A-4154-A0A9-EF4ABE7FB0BB}" srcId="{AA5396A8-5869-41DE-ABBC-631612607560}" destId="{DBE3F10B-B9E7-4985-9FDF-DD05AD51F679}" srcOrd="3" destOrd="0" parTransId="{F56167E1-C2D6-44A6-B755-45F6111895F5}" sibTransId="{6E16E1BE-2FBE-474B-B552-729026D6525B}"/>
    <dgm:cxn modelId="{9E77B86C-E08B-4431-A740-DBC791C03C63}" type="presOf" srcId="{8E255930-1598-44BF-B08B-35EABBAF5499}" destId="{C04ED53E-F273-4030-B913-497732DC3B4E}" srcOrd="0" destOrd="0" presId="urn:microsoft.com/office/officeart/2018/2/layout/IconCircleList"/>
    <dgm:cxn modelId="{7E79EB71-EC14-433A-BB45-BD0149A75539}" type="presOf" srcId="{DBE3F10B-B9E7-4985-9FDF-DD05AD51F679}" destId="{F79CECF4-DA0D-4C28-A10D-D13B02266BAE}" srcOrd="0" destOrd="0" presId="urn:microsoft.com/office/officeart/2018/2/layout/IconCircleList"/>
    <dgm:cxn modelId="{D2DED3A4-73A6-41FD-B3D8-9E6D4DB2C05F}" srcId="{AA5396A8-5869-41DE-ABBC-631612607560}" destId="{850BBB14-DA50-4CFF-85F0-5D3941086214}" srcOrd="1" destOrd="0" parTransId="{23CA05FE-A6B8-480C-9682-4CB98F85BB37}" sibTransId="{281ED3DE-EFB6-472A-BF34-5F8427E04E3F}"/>
    <dgm:cxn modelId="{747773BA-63E6-46CE-9E3B-3BAC3E374EAD}" type="presOf" srcId="{EA76F3AB-2AC3-49D2-8D1B-FDFB598EE37C}" destId="{93F8411E-4AA5-43EE-AD2A-9209A5760495}" srcOrd="0" destOrd="0" presId="urn:microsoft.com/office/officeart/2018/2/layout/IconCircleList"/>
    <dgm:cxn modelId="{DF0022C7-BB40-4D7F-9A85-2F56A3B484D9}" srcId="{AA5396A8-5869-41DE-ABBC-631612607560}" destId="{B7025083-69EB-4858-A6FA-AC0E2EA885C6}" srcOrd="2" destOrd="0" parTransId="{88CC4D4A-4DA4-4853-A927-817EDCD22F9E}" sibTransId="{8E255930-1598-44BF-B08B-35EABBAF5499}"/>
    <dgm:cxn modelId="{FC3952D4-F5E7-4370-9B5D-1735F7ED94E8}" type="presOf" srcId="{AA5396A8-5869-41DE-ABBC-631612607560}" destId="{E4D0FCAF-9F9D-4494-9E35-41C310BF6913}" srcOrd="0" destOrd="0" presId="urn:microsoft.com/office/officeart/2018/2/layout/IconCircleList"/>
    <dgm:cxn modelId="{3AE641DD-4630-4C2F-A018-96C18C89757F}" type="presOf" srcId="{90638F7B-670F-4440-AA70-1653453B3076}" destId="{FE161478-8BE5-4775-B110-68060DF472A7}" srcOrd="0" destOrd="0" presId="urn:microsoft.com/office/officeart/2018/2/layout/IconCircleList"/>
    <dgm:cxn modelId="{AC612788-2C5F-41B7-B508-D86CE6D84B5F}" type="presParOf" srcId="{E4D0FCAF-9F9D-4494-9E35-41C310BF6913}" destId="{A5860E8C-A6CF-4F83-ABF3-C0C2BD093C87}" srcOrd="0" destOrd="0" presId="urn:microsoft.com/office/officeart/2018/2/layout/IconCircleList"/>
    <dgm:cxn modelId="{92B2EFC4-A716-4CF6-8D36-662584AAAC66}" type="presParOf" srcId="{A5860E8C-A6CF-4F83-ABF3-C0C2BD093C87}" destId="{87660524-FF73-438A-A1E1-12A7CC2868AA}" srcOrd="0" destOrd="0" presId="urn:microsoft.com/office/officeart/2018/2/layout/IconCircleList"/>
    <dgm:cxn modelId="{F0E03ACC-D6E0-430B-AB4C-185C985FD657}" type="presParOf" srcId="{87660524-FF73-438A-A1E1-12A7CC2868AA}" destId="{30037F46-F932-4783-851E-F7DE7294581B}" srcOrd="0" destOrd="0" presId="urn:microsoft.com/office/officeart/2018/2/layout/IconCircleList"/>
    <dgm:cxn modelId="{DD847AD1-4934-47F4-8506-BAF43F96FBC0}" type="presParOf" srcId="{87660524-FF73-438A-A1E1-12A7CC2868AA}" destId="{2A89B979-038C-429B-B20F-C44024A7A260}" srcOrd="1" destOrd="0" presId="urn:microsoft.com/office/officeart/2018/2/layout/IconCircleList"/>
    <dgm:cxn modelId="{A28BBB81-34CB-46FD-A310-E2DFCE076299}" type="presParOf" srcId="{87660524-FF73-438A-A1E1-12A7CC2868AA}" destId="{B48A6077-8526-4AB7-A781-64162036ED42}" srcOrd="2" destOrd="0" presId="urn:microsoft.com/office/officeart/2018/2/layout/IconCircleList"/>
    <dgm:cxn modelId="{74093ECE-8C33-44BC-B139-6F9E46B4AA77}" type="presParOf" srcId="{87660524-FF73-438A-A1E1-12A7CC2868AA}" destId="{FE161478-8BE5-4775-B110-68060DF472A7}" srcOrd="3" destOrd="0" presId="urn:microsoft.com/office/officeart/2018/2/layout/IconCircleList"/>
    <dgm:cxn modelId="{A5D200D7-4383-4C0A-89F5-B18F6D5BA951}" type="presParOf" srcId="{A5860E8C-A6CF-4F83-ABF3-C0C2BD093C87}" destId="{93F8411E-4AA5-43EE-AD2A-9209A5760495}" srcOrd="1" destOrd="0" presId="urn:microsoft.com/office/officeart/2018/2/layout/IconCircleList"/>
    <dgm:cxn modelId="{DF5893B0-1675-4BA5-A746-049EAA9D0169}" type="presParOf" srcId="{A5860E8C-A6CF-4F83-ABF3-C0C2BD093C87}" destId="{E173F69A-5D7C-4BA0-ADD7-B1D55C440269}" srcOrd="2" destOrd="0" presId="urn:microsoft.com/office/officeart/2018/2/layout/IconCircleList"/>
    <dgm:cxn modelId="{CD96DC5C-A1DC-4B62-9D4F-84667AF710EF}" type="presParOf" srcId="{E173F69A-5D7C-4BA0-ADD7-B1D55C440269}" destId="{0AFBF73E-D7B6-4A72-A67E-AC484940782A}" srcOrd="0" destOrd="0" presId="urn:microsoft.com/office/officeart/2018/2/layout/IconCircleList"/>
    <dgm:cxn modelId="{4F4E490D-B3E2-418F-A56C-B673D86E6C0D}" type="presParOf" srcId="{E173F69A-5D7C-4BA0-ADD7-B1D55C440269}" destId="{0398AAE4-22DA-4E6C-A2D3-2FD0AFC197FF}" srcOrd="1" destOrd="0" presId="urn:microsoft.com/office/officeart/2018/2/layout/IconCircleList"/>
    <dgm:cxn modelId="{E97FACC8-4C50-4480-8625-CD36AB5B0853}" type="presParOf" srcId="{E173F69A-5D7C-4BA0-ADD7-B1D55C440269}" destId="{AC3F355F-088A-4ED0-B9C7-A2EEDE3CA9ED}" srcOrd="2" destOrd="0" presId="urn:microsoft.com/office/officeart/2018/2/layout/IconCircleList"/>
    <dgm:cxn modelId="{6C85EE2C-25F6-4DA9-9563-DEDAAD050557}" type="presParOf" srcId="{E173F69A-5D7C-4BA0-ADD7-B1D55C440269}" destId="{FFE6AF04-B968-42FD-B1DD-05842157510A}" srcOrd="3" destOrd="0" presId="urn:microsoft.com/office/officeart/2018/2/layout/IconCircleList"/>
    <dgm:cxn modelId="{7221FEB7-AA77-4485-B011-D2C677AB4DB6}" type="presParOf" srcId="{A5860E8C-A6CF-4F83-ABF3-C0C2BD093C87}" destId="{8A896A50-614C-4E94-B47D-927CC3AA1AF7}" srcOrd="3" destOrd="0" presId="urn:microsoft.com/office/officeart/2018/2/layout/IconCircleList"/>
    <dgm:cxn modelId="{A7AD3F32-C852-4069-B03F-8ACB32FA41F7}" type="presParOf" srcId="{A5860E8C-A6CF-4F83-ABF3-C0C2BD093C87}" destId="{F1472CD6-98F1-479B-8DFB-63E130C533D5}" srcOrd="4" destOrd="0" presId="urn:microsoft.com/office/officeart/2018/2/layout/IconCircleList"/>
    <dgm:cxn modelId="{783EF0D5-9564-4F30-9326-8D1BF1941A0F}" type="presParOf" srcId="{F1472CD6-98F1-479B-8DFB-63E130C533D5}" destId="{EACDEA47-B7FD-4EF0-AD45-F63AA32A2541}" srcOrd="0" destOrd="0" presId="urn:microsoft.com/office/officeart/2018/2/layout/IconCircleList"/>
    <dgm:cxn modelId="{15F76B0B-7134-4BAC-AE1B-4F8B1157415C}" type="presParOf" srcId="{F1472CD6-98F1-479B-8DFB-63E130C533D5}" destId="{75F6092C-9A88-436C-BCE9-D38F138AE3EE}" srcOrd="1" destOrd="0" presId="urn:microsoft.com/office/officeart/2018/2/layout/IconCircleList"/>
    <dgm:cxn modelId="{5F03BFBE-A347-446A-A35D-C91D2708D44B}" type="presParOf" srcId="{F1472CD6-98F1-479B-8DFB-63E130C533D5}" destId="{8E4912CC-F096-4692-8B97-8260DB2C9085}" srcOrd="2" destOrd="0" presId="urn:microsoft.com/office/officeart/2018/2/layout/IconCircleList"/>
    <dgm:cxn modelId="{3ABB4EB8-2187-4DEA-9E9A-375C892342C4}" type="presParOf" srcId="{F1472CD6-98F1-479B-8DFB-63E130C533D5}" destId="{2C014A9A-7062-4BF7-AF1D-185B6A758AD9}" srcOrd="3" destOrd="0" presId="urn:microsoft.com/office/officeart/2018/2/layout/IconCircleList"/>
    <dgm:cxn modelId="{8513F138-C420-4E15-BCB1-D1EC9C2C4739}" type="presParOf" srcId="{A5860E8C-A6CF-4F83-ABF3-C0C2BD093C87}" destId="{C04ED53E-F273-4030-B913-497732DC3B4E}" srcOrd="5" destOrd="0" presId="urn:microsoft.com/office/officeart/2018/2/layout/IconCircleList"/>
    <dgm:cxn modelId="{A1476172-A4B4-414E-8313-128077EBC548}" type="presParOf" srcId="{A5860E8C-A6CF-4F83-ABF3-C0C2BD093C87}" destId="{16932C66-8EF0-4F7F-A4E1-F8EB0FF348BD}" srcOrd="6" destOrd="0" presId="urn:microsoft.com/office/officeart/2018/2/layout/IconCircleList"/>
    <dgm:cxn modelId="{06FC0653-B6D9-401B-93F5-194C94EBF85D}" type="presParOf" srcId="{16932C66-8EF0-4F7F-A4E1-F8EB0FF348BD}" destId="{6C7E6E47-6C42-4214-8BD6-D00DA0EA8A59}" srcOrd="0" destOrd="0" presId="urn:microsoft.com/office/officeart/2018/2/layout/IconCircleList"/>
    <dgm:cxn modelId="{957A9ADD-5358-40DA-9BEF-AD08CB6056D3}" type="presParOf" srcId="{16932C66-8EF0-4F7F-A4E1-F8EB0FF348BD}" destId="{9099B2B2-AF22-4C8C-926D-A754612FC13C}" srcOrd="1" destOrd="0" presId="urn:microsoft.com/office/officeart/2018/2/layout/IconCircleList"/>
    <dgm:cxn modelId="{1EB06CEF-66A0-4F9D-A561-2053E17E02F1}" type="presParOf" srcId="{16932C66-8EF0-4F7F-A4E1-F8EB0FF348BD}" destId="{5EE23E18-5D8F-4658-8A22-2F892B906089}" srcOrd="2" destOrd="0" presId="urn:microsoft.com/office/officeart/2018/2/layout/IconCircleList"/>
    <dgm:cxn modelId="{DD83676D-FCB9-45D7-923E-98F5F408FDB0}" type="presParOf" srcId="{16932C66-8EF0-4F7F-A4E1-F8EB0FF348BD}" destId="{F79CECF4-DA0D-4C28-A10D-D13B02266BAE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4ED851C-6530-4543-8062-331ED9EF1BE7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E601723B-0923-415E-9F1B-3E846228EFA2}">
      <dgm:prSet/>
      <dgm:spPr/>
      <dgm:t>
        <a:bodyPr/>
        <a:lstStyle/>
        <a:p>
          <a:r>
            <a:rPr lang="cs-CZ" dirty="0"/>
            <a:t>Přispívá k strategii EU v oblasti péče a zásadám EPSR.</a:t>
          </a:r>
        </a:p>
      </dgm:t>
    </dgm:pt>
    <dgm:pt modelId="{6B91FBFB-99C9-4BF7-8FCE-17D303D89B4A}" type="parTrans" cxnId="{9E5CB8A4-477F-4B68-A839-D8E353B13ED5}">
      <dgm:prSet/>
      <dgm:spPr/>
      <dgm:t>
        <a:bodyPr/>
        <a:lstStyle/>
        <a:p>
          <a:endParaRPr lang="cs-CZ"/>
        </a:p>
      </dgm:t>
    </dgm:pt>
    <dgm:pt modelId="{5E955003-F02F-4CDF-BB2D-1F3D059389C0}" type="sibTrans" cxnId="{9E5CB8A4-477F-4B68-A839-D8E353B13ED5}">
      <dgm:prSet/>
      <dgm:spPr/>
      <dgm:t>
        <a:bodyPr/>
        <a:lstStyle/>
        <a:p>
          <a:endParaRPr lang="cs-CZ"/>
        </a:p>
      </dgm:t>
    </dgm:pt>
    <dgm:pt modelId="{57C7AA01-6E4D-4003-919B-2E76F16E29B1}">
      <dgm:prSet/>
      <dgm:spPr/>
      <dgm:t>
        <a:bodyPr/>
        <a:lstStyle/>
        <a:p>
          <a:r>
            <a:rPr lang="cs-CZ" dirty="0"/>
            <a:t>Podporuje zdravé stárnutí a sociální začleňování.</a:t>
          </a:r>
        </a:p>
      </dgm:t>
    </dgm:pt>
    <dgm:pt modelId="{1E5A3570-9E83-4EF9-A421-CDEC5662309C}" type="parTrans" cxnId="{3C7F1CD6-3371-4A21-A376-6DD0DB161840}">
      <dgm:prSet/>
      <dgm:spPr/>
      <dgm:t>
        <a:bodyPr/>
        <a:lstStyle/>
        <a:p>
          <a:endParaRPr lang="cs-CZ"/>
        </a:p>
      </dgm:t>
    </dgm:pt>
    <dgm:pt modelId="{08F9F47E-29AF-4997-8D3F-37F28EF88FF8}" type="sibTrans" cxnId="{3C7F1CD6-3371-4A21-A376-6DD0DB161840}">
      <dgm:prSet/>
      <dgm:spPr/>
      <dgm:t>
        <a:bodyPr/>
        <a:lstStyle/>
        <a:p>
          <a:endParaRPr lang="cs-CZ"/>
        </a:p>
      </dgm:t>
    </dgm:pt>
    <dgm:pt modelId="{94F4F7C6-3319-4C27-A88B-9DD6F8489837}">
      <dgm:prSet/>
      <dgm:spPr/>
      <dgm:t>
        <a:bodyPr/>
        <a:lstStyle/>
        <a:p>
          <a:r>
            <a:rPr lang="cs-CZ" dirty="0"/>
            <a:t>Respektuje priority Švýcarska v oblasti mezinárodní spolupráce.</a:t>
          </a:r>
        </a:p>
      </dgm:t>
    </dgm:pt>
    <dgm:pt modelId="{9FC72EFD-C99E-427C-B584-47313AAF7733}" type="parTrans" cxnId="{994F90A0-E474-48CA-ABDF-2023DB27B949}">
      <dgm:prSet/>
      <dgm:spPr/>
      <dgm:t>
        <a:bodyPr/>
        <a:lstStyle/>
        <a:p>
          <a:endParaRPr lang="cs-CZ"/>
        </a:p>
      </dgm:t>
    </dgm:pt>
    <dgm:pt modelId="{21FB1A22-7FFB-436B-A860-637AB649A8BA}" type="sibTrans" cxnId="{994F90A0-E474-48CA-ABDF-2023DB27B949}">
      <dgm:prSet/>
      <dgm:spPr/>
      <dgm:t>
        <a:bodyPr/>
        <a:lstStyle/>
        <a:p>
          <a:endParaRPr lang="cs-CZ"/>
        </a:p>
      </dgm:t>
    </dgm:pt>
    <dgm:pt modelId="{11D0FA1F-413E-4739-8B65-0EEF69E7A075}">
      <dgm:prSet/>
      <dgm:spPr/>
      <dgm:t>
        <a:bodyPr/>
        <a:lstStyle/>
        <a:p>
          <a:r>
            <a:rPr lang="cs-CZ" dirty="0"/>
            <a:t>Přenositelný model pro jiné země.</a:t>
          </a:r>
        </a:p>
      </dgm:t>
    </dgm:pt>
    <dgm:pt modelId="{37A7BD86-52F9-4F64-B6CC-00D6941D0524}" type="parTrans" cxnId="{4BAE8471-2CEE-4C76-9725-1D8F311419A1}">
      <dgm:prSet/>
      <dgm:spPr/>
      <dgm:t>
        <a:bodyPr/>
        <a:lstStyle/>
        <a:p>
          <a:endParaRPr lang="cs-CZ"/>
        </a:p>
      </dgm:t>
    </dgm:pt>
    <dgm:pt modelId="{8ABB0221-5BB6-42DC-A13C-4907DDF92069}" type="sibTrans" cxnId="{4BAE8471-2CEE-4C76-9725-1D8F311419A1}">
      <dgm:prSet/>
      <dgm:spPr/>
      <dgm:t>
        <a:bodyPr/>
        <a:lstStyle/>
        <a:p>
          <a:endParaRPr lang="cs-CZ"/>
        </a:p>
      </dgm:t>
    </dgm:pt>
    <dgm:pt modelId="{20F23DD4-0FD9-4D2A-A945-2082B355D26B}" type="pres">
      <dgm:prSet presAssocID="{64ED851C-6530-4543-8062-331ED9EF1BE7}" presName="matrix" presStyleCnt="0">
        <dgm:presLayoutVars>
          <dgm:chMax val="1"/>
          <dgm:dir/>
          <dgm:resizeHandles val="exact"/>
        </dgm:presLayoutVars>
      </dgm:prSet>
      <dgm:spPr/>
    </dgm:pt>
    <dgm:pt modelId="{4DF03582-FBD9-4A75-A3DB-C0D19A6776E2}" type="pres">
      <dgm:prSet presAssocID="{64ED851C-6530-4543-8062-331ED9EF1BE7}" presName="diamond" presStyleLbl="bgShp" presStyleIdx="0" presStyleCnt="1"/>
      <dgm:spPr/>
    </dgm:pt>
    <dgm:pt modelId="{34117C5C-FFF4-4B3A-B0DC-7B7CF4A178CE}" type="pres">
      <dgm:prSet presAssocID="{64ED851C-6530-4543-8062-331ED9EF1BE7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5F6ED27A-99A8-47C8-BC79-4AC425A38204}" type="pres">
      <dgm:prSet presAssocID="{64ED851C-6530-4543-8062-331ED9EF1BE7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005DD2D-B193-4B43-9F84-84AD844EDA35}" type="pres">
      <dgm:prSet presAssocID="{64ED851C-6530-4543-8062-331ED9EF1BE7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8B31E8E-A243-422C-8C55-0F76FEC8861F}" type="pres">
      <dgm:prSet presAssocID="{64ED851C-6530-4543-8062-331ED9EF1BE7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4613CB16-041E-4BB3-8768-E208F1E41FD3}" type="presOf" srcId="{64ED851C-6530-4543-8062-331ED9EF1BE7}" destId="{20F23DD4-0FD9-4D2A-A945-2082B355D26B}" srcOrd="0" destOrd="0" presId="urn:microsoft.com/office/officeart/2005/8/layout/matrix3"/>
    <dgm:cxn modelId="{237AD727-13F8-4559-94FD-ED005239960C}" type="presOf" srcId="{E601723B-0923-415E-9F1B-3E846228EFA2}" destId="{34117C5C-FFF4-4B3A-B0DC-7B7CF4A178CE}" srcOrd="0" destOrd="0" presId="urn:microsoft.com/office/officeart/2005/8/layout/matrix3"/>
    <dgm:cxn modelId="{9467202F-BCC5-47E9-9B29-B0B5195E3AA2}" type="presOf" srcId="{11D0FA1F-413E-4739-8B65-0EEF69E7A075}" destId="{18B31E8E-A243-422C-8C55-0F76FEC8861F}" srcOrd="0" destOrd="0" presId="urn:microsoft.com/office/officeart/2005/8/layout/matrix3"/>
    <dgm:cxn modelId="{4BAE8471-2CEE-4C76-9725-1D8F311419A1}" srcId="{64ED851C-6530-4543-8062-331ED9EF1BE7}" destId="{11D0FA1F-413E-4739-8B65-0EEF69E7A075}" srcOrd="3" destOrd="0" parTransId="{37A7BD86-52F9-4F64-B6CC-00D6941D0524}" sibTransId="{8ABB0221-5BB6-42DC-A13C-4907DDF92069}"/>
    <dgm:cxn modelId="{994F90A0-E474-48CA-ABDF-2023DB27B949}" srcId="{64ED851C-6530-4543-8062-331ED9EF1BE7}" destId="{94F4F7C6-3319-4C27-A88B-9DD6F8489837}" srcOrd="2" destOrd="0" parTransId="{9FC72EFD-C99E-427C-B584-47313AAF7733}" sibTransId="{21FB1A22-7FFB-436B-A860-637AB649A8BA}"/>
    <dgm:cxn modelId="{9E5CB8A4-477F-4B68-A839-D8E353B13ED5}" srcId="{64ED851C-6530-4543-8062-331ED9EF1BE7}" destId="{E601723B-0923-415E-9F1B-3E846228EFA2}" srcOrd="0" destOrd="0" parTransId="{6B91FBFB-99C9-4BF7-8FCE-17D303D89B4A}" sibTransId="{5E955003-F02F-4CDF-BB2D-1F3D059389C0}"/>
    <dgm:cxn modelId="{EF20D9CC-DFB8-43CB-B014-0A7EF8507F01}" type="presOf" srcId="{94F4F7C6-3319-4C27-A88B-9DD6F8489837}" destId="{C005DD2D-B193-4B43-9F84-84AD844EDA35}" srcOrd="0" destOrd="0" presId="urn:microsoft.com/office/officeart/2005/8/layout/matrix3"/>
    <dgm:cxn modelId="{3C7F1CD6-3371-4A21-A376-6DD0DB161840}" srcId="{64ED851C-6530-4543-8062-331ED9EF1BE7}" destId="{57C7AA01-6E4D-4003-919B-2E76F16E29B1}" srcOrd="1" destOrd="0" parTransId="{1E5A3570-9E83-4EF9-A421-CDEC5662309C}" sibTransId="{08F9F47E-29AF-4997-8D3F-37F28EF88FF8}"/>
    <dgm:cxn modelId="{42B5B9DD-751A-456A-A240-DFF350CEC276}" type="presOf" srcId="{57C7AA01-6E4D-4003-919B-2E76F16E29B1}" destId="{5F6ED27A-99A8-47C8-BC79-4AC425A38204}" srcOrd="0" destOrd="0" presId="urn:microsoft.com/office/officeart/2005/8/layout/matrix3"/>
    <dgm:cxn modelId="{1AE0325C-C522-400E-9D03-8EF8EB92A2B1}" type="presParOf" srcId="{20F23DD4-0FD9-4D2A-A945-2082B355D26B}" destId="{4DF03582-FBD9-4A75-A3DB-C0D19A6776E2}" srcOrd="0" destOrd="0" presId="urn:microsoft.com/office/officeart/2005/8/layout/matrix3"/>
    <dgm:cxn modelId="{8E369D33-F0C3-4AE9-9F6A-71945EB59E60}" type="presParOf" srcId="{20F23DD4-0FD9-4D2A-A945-2082B355D26B}" destId="{34117C5C-FFF4-4B3A-B0DC-7B7CF4A178CE}" srcOrd="1" destOrd="0" presId="urn:microsoft.com/office/officeart/2005/8/layout/matrix3"/>
    <dgm:cxn modelId="{4308AC7C-4F12-4A5F-B02D-1DBF5C730A6E}" type="presParOf" srcId="{20F23DD4-0FD9-4D2A-A945-2082B355D26B}" destId="{5F6ED27A-99A8-47C8-BC79-4AC425A38204}" srcOrd="2" destOrd="0" presId="urn:microsoft.com/office/officeart/2005/8/layout/matrix3"/>
    <dgm:cxn modelId="{C7766AC2-CC55-41F5-B2BD-BC71CE41D927}" type="presParOf" srcId="{20F23DD4-0FD9-4D2A-A945-2082B355D26B}" destId="{C005DD2D-B193-4B43-9F84-84AD844EDA35}" srcOrd="3" destOrd="0" presId="urn:microsoft.com/office/officeart/2005/8/layout/matrix3"/>
    <dgm:cxn modelId="{22D9B9FA-71A6-4C8F-95BC-FBC55352886F}" type="presParOf" srcId="{20F23DD4-0FD9-4D2A-A945-2082B355D26B}" destId="{18B31E8E-A243-422C-8C55-0F76FEC8861F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C15441-7B22-40DE-9716-31064610AAA2}">
      <dsp:nvSpPr>
        <dsp:cNvPr id="0" name=""/>
        <dsp:cNvSpPr/>
      </dsp:nvSpPr>
      <dsp:spPr>
        <a:xfrm>
          <a:off x="0" y="91496"/>
          <a:ext cx="11182833" cy="913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b="1" kern="1200"/>
            <a:t>KA1</a:t>
          </a:r>
          <a:r>
            <a:rPr lang="cs-CZ" sz="2300" kern="1200"/>
            <a:t>: Vytvoření systému sekundární klasifikace případů </a:t>
          </a:r>
        </a:p>
      </dsp:txBody>
      <dsp:txXfrm>
        <a:off x="44602" y="136098"/>
        <a:ext cx="11093629" cy="824474"/>
      </dsp:txXfrm>
    </dsp:sp>
    <dsp:sp modelId="{B5B5E212-528B-405C-95D9-FE178E807BCC}">
      <dsp:nvSpPr>
        <dsp:cNvPr id="0" name=""/>
        <dsp:cNvSpPr/>
      </dsp:nvSpPr>
      <dsp:spPr>
        <a:xfrm>
          <a:off x="0" y="1071415"/>
          <a:ext cx="11182833" cy="913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b="1" kern="1200" dirty="0"/>
            <a:t>KA2</a:t>
          </a:r>
          <a:r>
            <a:rPr lang="cs-CZ" sz="2300" kern="1200" dirty="0"/>
            <a:t>: Ustavení referenční sítě a sběr dat pro nacenění nákladovosti péče a tvorba úhradových modelů </a:t>
          </a:r>
        </a:p>
      </dsp:txBody>
      <dsp:txXfrm>
        <a:off x="44602" y="1116017"/>
        <a:ext cx="11093629" cy="824474"/>
      </dsp:txXfrm>
    </dsp:sp>
    <dsp:sp modelId="{937C7E88-9CB8-45A2-A3C1-9EEB7EE3106B}">
      <dsp:nvSpPr>
        <dsp:cNvPr id="0" name=""/>
        <dsp:cNvSpPr/>
      </dsp:nvSpPr>
      <dsp:spPr>
        <a:xfrm>
          <a:off x="0" y="2051333"/>
          <a:ext cx="11182833" cy="913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b="1" kern="1200"/>
            <a:t>KA3</a:t>
          </a:r>
          <a:r>
            <a:rPr lang="cs-CZ" sz="2300" kern="1200"/>
            <a:t>: Tvorba katalogu zdravotních a sociálních služeb </a:t>
          </a:r>
        </a:p>
      </dsp:txBody>
      <dsp:txXfrm>
        <a:off x="44602" y="2095935"/>
        <a:ext cx="11093629" cy="824474"/>
      </dsp:txXfrm>
    </dsp:sp>
    <dsp:sp modelId="{FB8A40CA-BBEB-4914-9B2E-5BD4A679CBB8}">
      <dsp:nvSpPr>
        <dsp:cNvPr id="0" name=""/>
        <dsp:cNvSpPr/>
      </dsp:nvSpPr>
      <dsp:spPr>
        <a:xfrm>
          <a:off x="0" y="3031252"/>
          <a:ext cx="11182833" cy="913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b="1" kern="1200"/>
            <a:t>KA4</a:t>
          </a:r>
          <a:r>
            <a:rPr lang="cs-CZ" sz="2300" kern="1200"/>
            <a:t>: Tvorba doporučených postupů a indikátorů kvality pro domácí péči</a:t>
          </a:r>
        </a:p>
      </dsp:txBody>
      <dsp:txXfrm>
        <a:off x="44602" y="3075854"/>
        <a:ext cx="11093629" cy="824474"/>
      </dsp:txXfrm>
    </dsp:sp>
    <dsp:sp modelId="{3736F39C-D71E-4EDF-88A3-1C240BD0CA5A}">
      <dsp:nvSpPr>
        <dsp:cNvPr id="0" name=""/>
        <dsp:cNvSpPr/>
      </dsp:nvSpPr>
      <dsp:spPr>
        <a:xfrm>
          <a:off x="0" y="4011170"/>
          <a:ext cx="11182833" cy="913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b="1" kern="1200"/>
            <a:t>KA5</a:t>
          </a:r>
          <a:r>
            <a:rPr lang="cs-CZ" sz="2300" kern="1200"/>
            <a:t>: Řízení referenční sítě a interního projektového týmu, administrace a publicita projektu </a:t>
          </a:r>
        </a:p>
      </dsp:txBody>
      <dsp:txXfrm>
        <a:off x="44602" y="4055772"/>
        <a:ext cx="11093629" cy="8244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037F46-F932-4783-851E-F7DE7294581B}">
      <dsp:nvSpPr>
        <dsp:cNvPr id="0" name=""/>
        <dsp:cNvSpPr/>
      </dsp:nvSpPr>
      <dsp:spPr>
        <a:xfrm>
          <a:off x="13761" y="921644"/>
          <a:ext cx="720697" cy="720697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89B979-038C-429B-B20F-C44024A7A260}">
      <dsp:nvSpPr>
        <dsp:cNvPr id="0" name=""/>
        <dsp:cNvSpPr/>
      </dsp:nvSpPr>
      <dsp:spPr>
        <a:xfrm>
          <a:off x="165107" y="1072990"/>
          <a:ext cx="418004" cy="41800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161478-8BE5-4775-B110-68060DF472A7}">
      <dsp:nvSpPr>
        <dsp:cNvPr id="0" name=""/>
        <dsp:cNvSpPr/>
      </dsp:nvSpPr>
      <dsp:spPr>
        <a:xfrm>
          <a:off x="888894" y="921644"/>
          <a:ext cx="1698787" cy="7206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kern="1200" dirty="0"/>
            <a:t>Spravedlivější a efektivnější financování</a:t>
          </a:r>
          <a:endParaRPr lang="en-US" sz="1600" kern="1200" dirty="0"/>
        </a:p>
      </dsp:txBody>
      <dsp:txXfrm>
        <a:off x="888894" y="921644"/>
        <a:ext cx="1698787" cy="720697"/>
      </dsp:txXfrm>
    </dsp:sp>
    <dsp:sp modelId="{0AFBF73E-D7B6-4A72-A67E-AC484940782A}">
      <dsp:nvSpPr>
        <dsp:cNvPr id="0" name=""/>
        <dsp:cNvSpPr/>
      </dsp:nvSpPr>
      <dsp:spPr>
        <a:xfrm>
          <a:off x="2883682" y="921644"/>
          <a:ext cx="720697" cy="720697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98AAE4-22DA-4E6C-A2D3-2FD0AFC197FF}">
      <dsp:nvSpPr>
        <dsp:cNvPr id="0" name=""/>
        <dsp:cNvSpPr/>
      </dsp:nvSpPr>
      <dsp:spPr>
        <a:xfrm>
          <a:off x="3035029" y="1072990"/>
          <a:ext cx="418004" cy="41800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FE6AF04-B968-42FD-B1DD-05842157510A}">
      <dsp:nvSpPr>
        <dsp:cNvPr id="0" name=""/>
        <dsp:cNvSpPr/>
      </dsp:nvSpPr>
      <dsp:spPr>
        <a:xfrm>
          <a:off x="3758815" y="921644"/>
          <a:ext cx="1698787" cy="7206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0" kern="1200" dirty="0"/>
            <a:t>Lepší orientace na služby pro pacienty a pečovatele</a:t>
          </a:r>
          <a:endParaRPr lang="en-US" sz="1600" b="0" kern="1200" dirty="0"/>
        </a:p>
      </dsp:txBody>
      <dsp:txXfrm>
        <a:off x="3758815" y="921644"/>
        <a:ext cx="1698787" cy="720697"/>
      </dsp:txXfrm>
    </dsp:sp>
    <dsp:sp modelId="{EACDEA47-B7FD-4EF0-AD45-F63AA32A2541}">
      <dsp:nvSpPr>
        <dsp:cNvPr id="0" name=""/>
        <dsp:cNvSpPr/>
      </dsp:nvSpPr>
      <dsp:spPr>
        <a:xfrm>
          <a:off x="13761" y="2315108"/>
          <a:ext cx="720697" cy="720697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F6092C-9A88-436C-BCE9-D38F138AE3EE}">
      <dsp:nvSpPr>
        <dsp:cNvPr id="0" name=""/>
        <dsp:cNvSpPr/>
      </dsp:nvSpPr>
      <dsp:spPr>
        <a:xfrm>
          <a:off x="165107" y="2466455"/>
          <a:ext cx="418004" cy="41800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014A9A-7062-4BF7-AF1D-185B6A758AD9}">
      <dsp:nvSpPr>
        <dsp:cNvPr id="0" name=""/>
        <dsp:cNvSpPr/>
      </dsp:nvSpPr>
      <dsp:spPr>
        <a:xfrm>
          <a:off x="888894" y="2315108"/>
          <a:ext cx="1698787" cy="7206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kern="1200" dirty="0"/>
            <a:t>Silnější datová infrastruktura a národní koordinace</a:t>
          </a:r>
          <a:endParaRPr lang="en-US" sz="1600" kern="1200" dirty="0"/>
        </a:p>
      </dsp:txBody>
      <dsp:txXfrm>
        <a:off x="888894" y="2315108"/>
        <a:ext cx="1698787" cy="720697"/>
      </dsp:txXfrm>
    </dsp:sp>
    <dsp:sp modelId="{6C7E6E47-6C42-4214-8BD6-D00DA0EA8A59}">
      <dsp:nvSpPr>
        <dsp:cNvPr id="0" name=""/>
        <dsp:cNvSpPr/>
      </dsp:nvSpPr>
      <dsp:spPr>
        <a:xfrm>
          <a:off x="2883682" y="2315108"/>
          <a:ext cx="720697" cy="720697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99B2B2-AF22-4C8C-926D-A754612FC13C}">
      <dsp:nvSpPr>
        <dsp:cNvPr id="0" name=""/>
        <dsp:cNvSpPr/>
      </dsp:nvSpPr>
      <dsp:spPr>
        <a:xfrm>
          <a:off x="3035029" y="2466455"/>
          <a:ext cx="418004" cy="41800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9CECF4-DA0D-4C28-A10D-D13B02266BAE}">
      <dsp:nvSpPr>
        <dsp:cNvPr id="0" name=""/>
        <dsp:cNvSpPr/>
      </dsp:nvSpPr>
      <dsp:spPr>
        <a:xfrm>
          <a:off x="3758815" y="2315108"/>
          <a:ext cx="1698787" cy="7206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kern="1200" dirty="0"/>
            <a:t>Zvýšená odolnost zdravotního systému</a:t>
          </a:r>
          <a:endParaRPr lang="en-US" sz="1600" kern="1200" dirty="0"/>
        </a:p>
      </dsp:txBody>
      <dsp:txXfrm>
        <a:off x="3758815" y="2315108"/>
        <a:ext cx="1698787" cy="72069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F03582-FBD9-4A75-A3DB-C0D19A6776E2}">
      <dsp:nvSpPr>
        <dsp:cNvPr id="0" name=""/>
        <dsp:cNvSpPr/>
      </dsp:nvSpPr>
      <dsp:spPr>
        <a:xfrm>
          <a:off x="717410" y="0"/>
          <a:ext cx="3957451" cy="3957451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117C5C-FFF4-4B3A-B0DC-7B7CF4A178CE}">
      <dsp:nvSpPr>
        <dsp:cNvPr id="0" name=""/>
        <dsp:cNvSpPr/>
      </dsp:nvSpPr>
      <dsp:spPr>
        <a:xfrm>
          <a:off x="1093367" y="375957"/>
          <a:ext cx="1543405" cy="1543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kern="1200" dirty="0"/>
            <a:t>Přispívá k strategii EU v oblasti péče a zásadám EPSR.</a:t>
          </a:r>
        </a:p>
      </dsp:txBody>
      <dsp:txXfrm>
        <a:off x="1168710" y="451300"/>
        <a:ext cx="1392719" cy="1392719"/>
      </dsp:txXfrm>
    </dsp:sp>
    <dsp:sp modelId="{5F6ED27A-99A8-47C8-BC79-4AC425A38204}">
      <dsp:nvSpPr>
        <dsp:cNvPr id="0" name=""/>
        <dsp:cNvSpPr/>
      </dsp:nvSpPr>
      <dsp:spPr>
        <a:xfrm>
          <a:off x="2755497" y="375957"/>
          <a:ext cx="1543405" cy="1543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kern="1200" dirty="0"/>
            <a:t>Podporuje zdravé stárnutí a sociální začleňování.</a:t>
          </a:r>
        </a:p>
      </dsp:txBody>
      <dsp:txXfrm>
        <a:off x="2830840" y="451300"/>
        <a:ext cx="1392719" cy="1392719"/>
      </dsp:txXfrm>
    </dsp:sp>
    <dsp:sp modelId="{C005DD2D-B193-4B43-9F84-84AD844EDA35}">
      <dsp:nvSpPr>
        <dsp:cNvPr id="0" name=""/>
        <dsp:cNvSpPr/>
      </dsp:nvSpPr>
      <dsp:spPr>
        <a:xfrm>
          <a:off x="1093367" y="2038087"/>
          <a:ext cx="1543405" cy="1543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kern="1200" dirty="0"/>
            <a:t>Respektuje priority Švýcarska v oblasti mezinárodní spolupráce.</a:t>
          </a:r>
        </a:p>
      </dsp:txBody>
      <dsp:txXfrm>
        <a:off x="1168710" y="2113430"/>
        <a:ext cx="1392719" cy="1392719"/>
      </dsp:txXfrm>
    </dsp:sp>
    <dsp:sp modelId="{18B31E8E-A243-422C-8C55-0F76FEC8861F}">
      <dsp:nvSpPr>
        <dsp:cNvPr id="0" name=""/>
        <dsp:cNvSpPr/>
      </dsp:nvSpPr>
      <dsp:spPr>
        <a:xfrm>
          <a:off x="2755497" y="2038087"/>
          <a:ext cx="1543405" cy="1543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kern="1200" dirty="0"/>
            <a:t>Přenositelný model pro jiné země.</a:t>
          </a:r>
        </a:p>
      </dsp:txBody>
      <dsp:txXfrm>
        <a:off x="2830840" y="2113430"/>
        <a:ext cx="1392719" cy="13927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3BBFF-5BDB-4BFA-A205-D86FFA09D122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4F1BDA-FCB1-4778-9DC0-2705F6BC9900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50218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11.emf"/><Relationship Id="rId3" Type="http://schemas.openxmlformats.org/officeDocument/2006/relationships/image" Target="../media/image1.emf"/><Relationship Id="rId7" Type="http://schemas.openxmlformats.org/officeDocument/2006/relationships/image" Target="../media/image5.emf"/><Relationship Id="rId12" Type="http://schemas.openxmlformats.org/officeDocument/2006/relationships/image" Target="../media/image10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11" Type="http://schemas.openxmlformats.org/officeDocument/2006/relationships/image" Target="../media/image9.emf"/><Relationship Id="rId5" Type="http://schemas.openxmlformats.org/officeDocument/2006/relationships/image" Target="../media/image3.png"/><Relationship Id="rId10" Type="http://schemas.openxmlformats.org/officeDocument/2006/relationships/image" Target="../media/image8.emf"/><Relationship Id="rId4" Type="http://schemas.openxmlformats.org/officeDocument/2006/relationships/image" Target="../media/image2.emf"/><Relationship Id="rId9" Type="http://schemas.openxmlformats.org/officeDocument/2006/relationships/image" Target="../media/image7.emf"/><Relationship Id="rId14" Type="http://schemas.openxmlformats.org/officeDocument/2006/relationships/image" Target="../media/image12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.emf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AA648E-50EF-48F7-8AD8-6A740B9BD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72DB4538-AF3A-4734-BCCB-0A29A49B8F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E13F443-9163-4588-8FFF-6387406A64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2697BE6-FF04-4FCB-89DC-FC37415C2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2C584E6-9194-4F23-8BEB-E5A740E91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193822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49C4D66-A1D3-4152-B7C4-0F9A15360A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2341BE57-A767-4B81-BDE6-BD8DBDC147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BAAEECB-4EFE-45D4-9877-70320F2E76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85436E6-7B4F-40A0-B744-938AC499F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09BC3D2-D19A-4B59-8691-CAE49D466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92291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EFCAE87-6F05-486B-87AA-400901D4A47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9F571AF-85B5-419B-883B-326E87A1F5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A1BE1DC-2DCA-4B0C-99AD-601E712D11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B85F011-D554-4AF8-9FDD-EFBA811F0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8E3FC03-FE3B-488B-80BA-6DE287119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526826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20508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</p:spTree>
    <p:extLst>
      <p:ext uri="{BB962C8B-B14F-4D97-AF65-F5344CB8AC3E}">
        <p14:creationId xmlns:p14="http://schemas.microsoft.com/office/powerpoint/2010/main" val="3664318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9085500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10013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3958982-BFCA-4659-9217-0F5BEC09D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434E049-2400-4026-80FD-1E51572784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5E62753-5694-496B-B525-268B7C00A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EC1E274-837A-4AFB-80A8-F97060B15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B0E61A0-A7E9-4E24-B0AB-1AEFA95464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863438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45F78C5-74DF-48EA-B896-F1EEE3571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6E41079-E509-480A-BA3C-4904BD4A69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9253D4B-32FC-419A-B7EF-2D8E85EECA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3263E79-4C69-4D5F-BB35-E0D04C929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76A80B9-EF00-4675-A20E-0FAEDAA2F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011491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98F6FA1-A9A4-4FAD-9129-89C5F3BC1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0F139F1-9026-4416-BD8F-505C05DAA5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7C403A-684C-4D04-A3F7-71CCF1A596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B06CE61-5F60-4FDB-94C2-400F297C45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35DAD77-3254-428B-B8E2-FE85075E5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3F6A77-6B72-43BC-9E81-7A8D67B3B7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771830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1C306EE-8CD2-4F3E-97B8-7BA19759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05B8190-17D5-4841-A618-E7F61C63DA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E51E2A32-CFC3-4549-A2B5-7DF130B26E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FD1589DC-9DB8-41D2-8A04-CF65E15769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1F25243-4F48-4887-B468-CD00E9E0CE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90B5399F-FD25-4CB5-9E68-562225CEA5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26E60370-65A5-4C99-97D9-EDC8D3E62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9C6A67FA-3119-4E83-9938-E5B27E7BC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467771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52986CC-1712-49A4-899C-DEDF4D7D1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4BE6EF3F-E490-4297-93B9-FE0C7432B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95F6B92-9276-4E09-9187-A55E8C1933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25AAD761-382E-49B8-BE9A-9A47C372C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43666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F6E3AB90-FCBC-401F-AE3C-4663F2E96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5FFBF8D3-7547-46C4-934E-B2AD61394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E6BD9E-3E5B-4B20-89DC-FCD532608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474495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C62A00-09CD-40E7-8038-964A30CBA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D2C8D28-3DB7-4CF7-B2DC-107EB082C8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3D98B8F-EFD5-4CE5-A879-CBAD4AE2ED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AC3A775-D288-4D68-A51A-B637872D66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8C29238-752C-4AD4-9368-B5F681477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E42F5BC-6909-4A00-B9F1-26AED8DB0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585287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BE3F0A6-2066-48F7-9D0C-BDCAE7635A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8D32DE02-923D-47F9-9C9F-E7B40BB106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6BA39F3-18BF-4E99-A7B9-8BD5506BE6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C39365A-C227-41CB-907D-E22B764BE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7C8E34FF-70E9-45B8-B91D-319AAE479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8E618B2-DD9E-440B-80BF-72CEF1496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50271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A6EF825D-5ADF-46F1-B0A9-CA9D77F6D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9E98FE1-6C27-4B47-9D37-0907FAB938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5F429E7-8B02-41C2-B883-B9A05922DE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C85AAB-A6E7-4351-AD79-B503AC54EA21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FD49C24-087A-417A-B0DF-D3CB13342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EE5F803-F426-4633-B8F9-111647DD42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178D63-37F7-4B1C-A77A-0C522A94911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25406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10.06.2025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74492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image" Target="../media/image16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7119EE2-45E5-0750-1E4E-51111EFD1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KOMPAS – </a:t>
            </a:r>
            <a:r>
              <a:rPr lang="en-US" dirty="0" err="1"/>
              <a:t>systémová</a:t>
            </a:r>
            <a:r>
              <a:rPr lang="en-US" dirty="0"/>
              <a:t> </a:t>
            </a:r>
            <a:r>
              <a:rPr lang="en-US" dirty="0" err="1"/>
              <a:t>podpora</a:t>
            </a:r>
            <a:r>
              <a:rPr lang="en-US" dirty="0"/>
              <a:t> </a:t>
            </a:r>
            <a:r>
              <a:rPr lang="en-US" dirty="0" err="1"/>
              <a:t>domácí</a:t>
            </a:r>
            <a:r>
              <a:rPr lang="en-US" dirty="0"/>
              <a:t> </a:t>
            </a:r>
            <a:r>
              <a:rPr lang="en-US" dirty="0" err="1"/>
              <a:t>péče</a:t>
            </a:r>
            <a:r>
              <a:rPr lang="en-US" dirty="0"/>
              <a:t> v ČR</a:t>
            </a:r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2D876C1-297B-C414-EEEE-3CD164F127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75694" y="4636227"/>
            <a:ext cx="9093816" cy="1192306"/>
          </a:xfrm>
        </p:spPr>
        <p:txBody>
          <a:bodyPr/>
          <a:lstStyle/>
          <a:p>
            <a:r>
              <a:rPr lang="cs-CZ" dirty="0"/>
              <a:t>RNDr. Jitka Soukupová, Ph.D. </a:t>
            </a:r>
          </a:p>
          <a:p>
            <a:r>
              <a:rPr lang="cs-CZ" sz="2000" dirty="0"/>
              <a:t>21. jednání Pracovní skupiny pro koncepční řešení poskytování domácí péče v ČR</a:t>
            </a:r>
          </a:p>
        </p:txBody>
      </p:sp>
      <p:pic>
        <p:nvPicPr>
          <p:cNvPr id="4" name="Obrázek 3" descr="Obsah obrázku logo, Grafika, symbol, snímek obrazovky&#10;&#10;Popis byl vytvořen automaticky">
            <a:extLst>
              <a:ext uri="{FF2B5EF4-FFF2-40B4-BE49-F238E27FC236}">
                <a16:creationId xmlns:a16="http://schemas.microsoft.com/office/drawing/2014/main" id="{C3B7171A-BB02-A964-FC27-FBCB3AA0A98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90" y="5828533"/>
            <a:ext cx="3501011" cy="1029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6195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5ED75C-E5EA-EC5F-435B-063A7ED43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975" y="160257"/>
            <a:ext cx="10243216" cy="631595"/>
          </a:xfrm>
        </p:spPr>
        <p:txBody>
          <a:bodyPr>
            <a:noAutofit/>
          </a:bodyPr>
          <a:lstStyle/>
          <a:p>
            <a:r>
              <a:rPr lang="cs-CZ" sz="4400" dirty="0"/>
              <a:t>KLÍČOVÁ AKTIVITY 5</a:t>
            </a:r>
          </a:p>
        </p:txBody>
      </p:sp>
      <p:sp>
        <p:nvSpPr>
          <p:cNvPr id="4" name="Zástupný obsah 4">
            <a:extLst>
              <a:ext uri="{FF2B5EF4-FFF2-40B4-BE49-F238E27FC236}">
                <a16:creationId xmlns:a16="http://schemas.microsoft.com/office/drawing/2014/main" id="{D97287C5-D5CB-CF72-9CDA-8F4E87F84CA1}"/>
              </a:ext>
            </a:extLst>
          </p:cNvPr>
          <p:cNvSpPr txBox="1">
            <a:spLocks/>
          </p:cNvSpPr>
          <p:nvPr/>
        </p:nvSpPr>
        <p:spPr>
          <a:xfrm>
            <a:off x="707293" y="1214866"/>
            <a:ext cx="11182834" cy="501634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b="1" u="sng" dirty="0">
                <a:solidFill>
                  <a:srgbClr val="C00000"/>
                </a:solidFill>
              </a:rPr>
              <a:t>Řízení </a:t>
            </a:r>
            <a:r>
              <a:rPr lang="cs-CZ" sz="2900" b="1" dirty="0">
                <a:solidFill>
                  <a:srgbClr val="C00000"/>
                </a:solidFill>
              </a:rPr>
              <a:t>referenční sítě a interního projektového týmu, </a:t>
            </a:r>
            <a:r>
              <a:rPr lang="cs-CZ" sz="2900" b="1" u="sng" dirty="0">
                <a:solidFill>
                  <a:srgbClr val="C00000"/>
                </a:solidFill>
              </a:rPr>
              <a:t>administrace a publicita </a:t>
            </a:r>
            <a:r>
              <a:rPr lang="cs-CZ" sz="2900" b="1" dirty="0">
                <a:solidFill>
                  <a:srgbClr val="C00000"/>
                </a:solidFill>
              </a:rPr>
              <a:t>projektu   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cs-CZ" sz="2900" b="1" dirty="0">
              <a:solidFill>
                <a:srgbClr val="C00000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Cíl aktivity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dirty="0"/>
              <a:t>Zajistit efektivní realizaci všech aktivit projektu, koordinaci pracovních týmů, odborného řízení a veřejné komunikace výstupů projektu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Výsledek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dirty="0"/>
              <a:t>Funkční projektový management, zajištěná administrace a personální kapacity, realizace komunikační strategie včetně konferencí, webových výstupů a podpory pro stakeholdery i veřejnost.</a:t>
            </a:r>
          </a:p>
        </p:txBody>
      </p:sp>
      <p:pic>
        <p:nvPicPr>
          <p:cNvPr id="5" name="Obrázek 4" descr="Obsah obrázku logo, Grafika, symbol, snímek obrazovky&#10;&#10;Popis byl vytvořen automaticky">
            <a:extLst>
              <a:ext uri="{FF2B5EF4-FFF2-40B4-BE49-F238E27FC236}">
                <a16:creationId xmlns:a16="http://schemas.microsoft.com/office/drawing/2014/main" id="{7CF81EEA-8464-F2C5-B4F2-01B2357B3EE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90" y="5828533"/>
            <a:ext cx="3501011" cy="1029467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C210AEB1-2B63-03A9-E78A-FD019A67DD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0643" y="160257"/>
            <a:ext cx="942040" cy="63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8137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5ED75C-E5EA-EC5F-435B-063A7ED43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975" y="160257"/>
            <a:ext cx="10243216" cy="631595"/>
          </a:xfrm>
        </p:spPr>
        <p:txBody>
          <a:bodyPr>
            <a:noAutofit/>
          </a:bodyPr>
          <a:lstStyle/>
          <a:p>
            <a:r>
              <a:rPr lang="cs-CZ" sz="4400" dirty="0"/>
              <a:t>BUDGET</a:t>
            </a:r>
          </a:p>
        </p:txBody>
      </p:sp>
      <p:sp>
        <p:nvSpPr>
          <p:cNvPr id="4" name="Zástupný obsah 4">
            <a:extLst>
              <a:ext uri="{FF2B5EF4-FFF2-40B4-BE49-F238E27FC236}">
                <a16:creationId xmlns:a16="http://schemas.microsoft.com/office/drawing/2014/main" id="{D97287C5-D5CB-CF72-9CDA-8F4E87F84CA1}"/>
              </a:ext>
            </a:extLst>
          </p:cNvPr>
          <p:cNvSpPr txBox="1">
            <a:spLocks/>
          </p:cNvSpPr>
          <p:nvPr/>
        </p:nvSpPr>
        <p:spPr>
          <a:xfrm>
            <a:off x="544975" y="1730188"/>
            <a:ext cx="11182834" cy="463577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Celkové způsobilé výdaje: 				</a:t>
            </a:r>
            <a:r>
              <a:rPr lang="cs-CZ" sz="2900" dirty="0"/>
              <a:t>CZK 135 982 000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Zahraniční podíl:					</a:t>
            </a:r>
            <a:r>
              <a:rPr lang="cs-CZ" sz="2900" dirty="0"/>
              <a:t>CZK 115 584 700 </a:t>
            </a:r>
            <a:br>
              <a:rPr lang="cs-CZ" sz="2900" dirty="0"/>
            </a:br>
            <a:r>
              <a:rPr lang="cs-CZ" sz="2900" dirty="0"/>
              <a:t>								(CHF 4 445 565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Výše spolufinancování ze státního rozpočtu: 	</a:t>
            </a:r>
            <a:r>
              <a:rPr lang="cs-CZ" sz="2900" dirty="0"/>
              <a:t>CZK 20 397 300 </a:t>
            </a:r>
            <a:br>
              <a:rPr lang="cs-CZ" sz="2900" dirty="0"/>
            </a:br>
            <a:r>
              <a:rPr lang="cs-CZ" sz="2900" dirty="0"/>
              <a:t>								(CHF 784 512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Hlavní kategorie nákladů: </a:t>
            </a:r>
          </a:p>
          <a:p>
            <a:pPr marL="2062163" lvl="1" indent="-177800">
              <a:spcBef>
                <a:spcPts val="0"/>
              </a:spcBef>
              <a:spcAft>
                <a:spcPts val="600"/>
              </a:spcAft>
            </a:pPr>
            <a:r>
              <a:rPr lang="cs-CZ" sz="2500" dirty="0"/>
              <a:t>Personální a expertní náklady</a:t>
            </a:r>
          </a:p>
          <a:p>
            <a:pPr marL="2062163" lvl="1" indent="-177800">
              <a:spcBef>
                <a:spcPts val="0"/>
              </a:spcBef>
              <a:spcAft>
                <a:spcPts val="600"/>
              </a:spcAft>
            </a:pPr>
            <a:r>
              <a:rPr lang="cs-CZ" sz="2500" dirty="0"/>
              <a:t>Vývoj IT technologií a platforem sdílení </a:t>
            </a:r>
          </a:p>
          <a:p>
            <a:pPr marL="2062163" lvl="1" indent="-177800">
              <a:spcBef>
                <a:spcPts val="0"/>
              </a:spcBef>
              <a:spcAft>
                <a:spcPts val="600"/>
              </a:spcAft>
            </a:pPr>
            <a:r>
              <a:rPr lang="cs-CZ" sz="2500" dirty="0"/>
              <a:t>Sběr a analýza dat</a:t>
            </a:r>
          </a:p>
          <a:p>
            <a:pPr marL="2062163" lvl="1" indent="-177800">
              <a:spcBef>
                <a:spcPts val="0"/>
              </a:spcBef>
              <a:spcAft>
                <a:spcPts val="600"/>
              </a:spcAft>
            </a:pPr>
            <a:r>
              <a:rPr lang="cs-CZ" sz="2500" dirty="0"/>
              <a:t>Vytváření doporučených postupů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C135E145-EBBD-04A3-1073-EA9B8F5001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0643" y="160257"/>
            <a:ext cx="942040" cy="63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6128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5ED75C-E5EA-EC5F-435B-063A7ED43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975" y="160257"/>
            <a:ext cx="10243216" cy="631595"/>
          </a:xfrm>
        </p:spPr>
        <p:txBody>
          <a:bodyPr>
            <a:noAutofit/>
          </a:bodyPr>
          <a:lstStyle/>
          <a:p>
            <a:r>
              <a:rPr lang="cs-CZ" sz="4400" dirty="0"/>
              <a:t> VÝSLEDKY A VÝSTUPY</a:t>
            </a:r>
          </a:p>
        </p:txBody>
      </p:sp>
      <p:sp>
        <p:nvSpPr>
          <p:cNvPr id="4" name="Zástupný obsah 4">
            <a:extLst>
              <a:ext uri="{FF2B5EF4-FFF2-40B4-BE49-F238E27FC236}">
                <a16:creationId xmlns:a16="http://schemas.microsoft.com/office/drawing/2014/main" id="{D97287C5-D5CB-CF72-9CDA-8F4E87F84CA1}"/>
              </a:ext>
            </a:extLst>
          </p:cNvPr>
          <p:cNvSpPr txBox="1">
            <a:spLocks/>
          </p:cNvSpPr>
          <p:nvPr/>
        </p:nvSpPr>
        <p:spPr>
          <a:xfrm>
            <a:off x="1009166" y="992303"/>
            <a:ext cx="11182834" cy="463577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cs-CZ" sz="2900" dirty="0"/>
              <a:t>Národní klasifikační a úhradový model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cs-CZ" sz="2900" dirty="0"/>
              <a:t>Referenční síť pokrývající celou ČR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cs-CZ" sz="2900" dirty="0"/>
              <a:t>Interaktivní katalog služeb (portál NZIP)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cs-CZ" sz="2900" dirty="0"/>
              <a:t>2 doporučené postupy a 10 indikátorů kvality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cs-CZ" sz="2900" dirty="0"/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b="1" dirty="0"/>
              <a:t>		Zlepšení plánování, kvality a dostupnosti domácí péče</a:t>
            </a:r>
          </a:p>
        </p:txBody>
      </p:sp>
      <p:pic>
        <p:nvPicPr>
          <p:cNvPr id="6" name="Obrázek 5" descr="Obsah obrázku logo, Grafika, symbol, snímek obrazovky&#10;&#10;Popis byl vytvořen automaticky">
            <a:extLst>
              <a:ext uri="{FF2B5EF4-FFF2-40B4-BE49-F238E27FC236}">
                <a16:creationId xmlns:a16="http://schemas.microsoft.com/office/drawing/2014/main" id="{CA7CAA04-B4D3-7418-D1B7-32EF8311756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90" y="5828533"/>
            <a:ext cx="3501011" cy="1029467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8E9F279B-1EB0-969A-71C9-84DE23BF82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0643" y="160257"/>
            <a:ext cx="942040" cy="63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9433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CA7B494-5B17-B741-1F9D-66205ED6BA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6576" y="1959672"/>
            <a:ext cx="5157787" cy="823912"/>
          </a:xfrm>
        </p:spPr>
        <p:txBody>
          <a:bodyPr>
            <a:normAutofit/>
          </a:bodyPr>
          <a:lstStyle/>
          <a:p>
            <a:pPr algn="ctr"/>
            <a:r>
              <a:rPr lang="cs-CZ" sz="2800" b="1" dirty="0">
                <a:solidFill>
                  <a:srgbClr val="C00000"/>
                </a:solidFill>
              </a:rPr>
              <a:t>Dlouhodobé dopady</a:t>
            </a:r>
          </a:p>
        </p:txBody>
      </p:sp>
      <p:graphicFrame>
        <p:nvGraphicFramePr>
          <p:cNvPr id="13" name="Zástupný obsah 4">
            <a:extLst>
              <a:ext uri="{FF2B5EF4-FFF2-40B4-BE49-F238E27FC236}">
                <a16:creationId xmlns:a16="http://schemas.microsoft.com/office/drawing/2014/main" id="{8B9C8A57-3371-8D5A-FD19-C8B926B4986A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899037433"/>
              </p:ext>
            </p:extLst>
          </p:nvPr>
        </p:nvGraphicFramePr>
        <p:xfrm>
          <a:off x="839788" y="2232212"/>
          <a:ext cx="5471365" cy="39574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Zástupný text 5">
            <a:extLst>
              <a:ext uri="{FF2B5EF4-FFF2-40B4-BE49-F238E27FC236}">
                <a16:creationId xmlns:a16="http://schemas.microsoft.com/office/drawing/2014/main" id="{04F87D19-D5BC-66C4-AB4F-8FAE260411A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273970"/>
            <a:ext cx="5183188" cy="823912"/>
          </a:xfrm>
        </p:spPr>
        <p:txBody>
          <a:bodyPr>
            <a:normAutofit/>
          </a:bodyPr>
          <a:lstStyle/>
          <a:p>
            <a:pPr algn="ctr"/>
            <a:r>
              <a:rPr lang="cs-CZ" sz="2800" b="1" dirty="0">
                <a:solidFill>
                  <a:srgbClr val="C00000"/>
                </a:solidFill>
              </a:rPr>
              <a:t>Strategický význam</a:t>
            </a:r>
          </a:p>
        </p:txBody>
      </p:sp>
      <p:graphicFrame>
        <p:nvGraphicFramePr>
          <p:cNvPr id="11" name="Zástupný obsah 10">
            <a:extLst>
              <a:ext uri="{FF2B5EF4-FFF2-40B4-BE49-F238E27FC236}">
                <a16:creationId xmlns:a16="http://schemas.microsoft.com/office/drawing/2014/main" id="{626F8DCB-4F1F-9E21-FAB5-32CB9921C439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716507993"/>
              </p:ext>
            </p:extLst>
          </p:nvPr>
        </p:nvGraphicFramePr>
        <p:xfrm>
          <a:off x="6172199" y="2232212"/>
          <a:ext cx="5392271" cy="39574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" name="Nadpis 1">
            <a:extLst>
              <a:ext uri="{FF2B5EF4-FFF2-40B4-BE49-F238E27FC236}">
                <a16:creationId xmlns:a16="http://schemas.microsoft.com/office/drawing/2014/main" id="{FC7D622E-9A69-2183-6E47-DD1AABE4F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5316" y="160257"/>
            <a:ext cx="9948403" cy="631595"/>
          </a:xfrm>
        </p:spPr>
        <p:txBody>
          <a:bodyPr>
            <a:noAutofit/>
          </a:bodyPr>
          <a:lstStyle/>
          <a:p>
            <a:r>
              <a:rPr lang="cs-CZ" b="1" dirty="0">
                <a:solidFill>
                  <a:srgbClr val="D71440"/>
                </a:solidFill>
                <a:latin typeface="+mn-lt"/>
                <a:ea typeface="+mn-ea"/>
                <a:cs typeface="+mn-cs"/>
              </a:rPr>
              <a:t>STRATEGICKÝ VÝZNAM</a:t>
            </a:r>
          </a:p>
        </p:txBody>
      </p:sp>
      <p:pic>
        <p:nvPicPr>
          <p:cNvPr id="4" name="Obrázek 3" descr="Obsah obrázku Grafika, Písmo, grafický design, logo&#10;&#10;Obsah vygenerovaný umělou inteligencí může být nesprávný.">
            <a:extLst>
              <a:ext uri="{FF2B5EF4-FFF2-40B4-BE49-F238E27FC236}">
                <a16:creationId xmlns:a16="http://schemas.microsoft.com/office/drawing/2014/main" id="{E20A6F81-CDE1-4311-6548-32F06A8CE2E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380643" y="160257"/>
            <a:ext cx="942040" cy="63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4386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7119EE2-45E5-0750-1E4E-51111EFD14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478" y="1427335"/>
            <a:ext cx="5894522" cy="1404481"/>
          </a:xfrm>
        </p:spPr>
        <p:txBody>
          <a:bodyPr>
            <a:normAutofit fontScale="90000"/>
          </a:bodyPr>
          <a:lstStyle/>
          <a:p>
            <a:r>
              <a:rPr lang="cs-CZ" dirty="0"/>
              <a:t>Kvalitní domácí péče jako základ bezpečí a důstojnosti v každém věku</a:t>
            </a:r>
          </a:p>
        </p:txBody>
      </p:sp>
      <p:pic>
        <p:nvPicPr>
          <p:cNvPr id="4" name="Obrázek 3" descr="Obsah obrázku logo, Grafika, symbol, snímek obrazovky&#10;&#10;Popis byl vytvořen automaticky">
            <a:extLst>
              <a:ext uri="{FF2B5EF4-FFF2-40B4-BE49-F238E27FC236}">
                <a16:creationId xmlns:a16="http://schemas.microsoft.com/office/drawing/2014/main" id="{C3B7171A-BB02-A964-FC27-FBCB3AA0A98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243" y="4303058"/>
            <a:ext cx="7073027" cy="207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1480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5ED75C-E5EA-EC5F-435B-063A7ED43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975" y="160257"/>
            <a:ext cx="10243216" cy="631595"/>
          </a:xfrm>
        </p:spPr>
        <p:txBody>
          <a:bodyPr>
            <a:normAutofit fontScale="90000"/>
          </a:bodyPr>
          <a:lstStyle/>
          <a:p>
            <a:r>
              <a:rPr lang="cs-CZ" sz="4900" dirty="0"/>
              <a:t>VSTUPNÍ INFORMACE</a:t>
            </a:r>
            <a:br>
              <a:rPr lang="cs-CZ" dirty="0"/>
            </a:br>
            <a:endParaRPr lang="cs-CZ" dirty="0"/>
          </a:p>
        </p:txBody>
      </p:sp>
      <p:sp>
        <p:nvSpPr>
          <p:cNvPr id="4" name="Zástupný obsah 4">
            <a:extLst>
              <a:ext uri="{FF2B5EF4-FFF2-40B4-BE49-F238E27FC236}">
                <a16:creationId xmlns:a16="http://schemas.microsoft.com/office/drawing/2014/main" id="{D97287C5-D5CB-CF72-9CDA-8F4E87F84CA1}"/>
              </a:ext>
            </a:extLst>
          </p:cNvPr>
          <p:cNvSpPr txBox="1">
            <a:spLocks/>
          </p:cNvSpPr>
          <p:nvPr/>
        </p:nvSpPr>
        <p:spPr>
          <a:xfrm>
            <a:off x="1142135" y="1326920"/>
            <a:ext cx="11182834" cy="501634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Realizátor</a:t>
            </a:r>
            <a:r>
              <a:rPr lang="cs-CZ" sz="2900" dirty="0"/>
              <a:t>: ÚZIS ČR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Trvání projektu</a:t>
            </a:r>
            <a:r>
              <a:rPr lang="cs-CZ" sz="2900" dirty="0"/>
              <a:t>: 2025–2029 (48 měsíců)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Budget</a:t>
            </a:r>
            <a:r>
              <a:rPr lang="cs-CZ" sz="2900" dirty="0"/>
              <a:t>: CZK 135.98 mil. (CHF 5.23 mil.)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Národní pokrytí </a:t>
            </a:r>
            <a:r>
              <a:rPr lang="cs-CZ" sz="2900" dirty="0"/>
              <a:t>v České republice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EE4D4834-645B-A14B-A65D-BC0FA43FD9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0643" y="160257"/>
            <a:ext cx="942040" cy="631595"/>
          </a:xfrm>
          <a:prstGeom prst="rect">
            <a:avLst/>
          </a:prstGeom>
        </p:spPr>
      </p:pic>
      <p:pic>
        <p:nvPicPr>
          <p:cNvPr id="7" name="Obrázek 6" descr="Obsah obrázku logo, Grafika, symbol, snímek obrazovky&#10;&#10;Popis byl vytvořen automaticky">
            <a:extLst>
              <a:ext uri="{FF2B5EF4-FFF2-40B4-BE49-F238E27FC236}">
                <a16:creationId xmlns:a16="http://schemas.microsoft.com/office/drawing/2014/main" id="{127D8638-FDFA-32A2-74D1-1AA8213BCCA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90" y="5828533"/>
            <a:ext cx="3501011" cy="1029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1037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5ED75C-E5EA-EC5F-435B-063A7ED43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975" y="160257"/>
            <a:ext cx="10243216" cy="631595"/>
          </a:xfrm>
        </p:spPr>
        <p:txBody>
          <a:bodyPr>
            <a:noAutofit/>
          </a:bodyPr>
          <a:lstStyle/>
          <a:p>
            <a:r>
              <a:rPr lang="cs-CZ" sz="4400" dirty="0"/>
              <a:t>KOMPAS</a:t>
            </a:r>
          </a:p>
        </p:txBody>
      </p:sp>
      <p:sp>
        <p:nvSpPr>
          <p:cNvPr id="4" name="Zástupný obsah 4">
            <a:extLst>
              <a:ext uri="{FF2B5EF4-FFF2-40B4-BE49-F238E27FC236}">
                <a16:creationId xmlns:a16="http://schemas.microsoft.com/office/drawing/2014/main" id="{D97287C5-D5CB-CF72-9CDA-8F4E87F84CA1}"/>
              </a:ext>
            </a:extLst>
          </p:cNvPr>
          <p:cNvSpPr txBox="1">
            <a:spLocks/>
          </p:cNvSpPr>
          <p:nvPr/>
        </p:nvSpPr>
        <p:spPr>
          <a:xfrm>
            <a:off x="544975" y="1349620"/>
            <a:ext cx="11182834" cy="501634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3600" b="1" dirty="0">
                <a:solidFill>
                  <a:srgbClr val="C00000"/>
                </a:solidFill>
              </a:rPr>
              <a:t>K</a:t>
            </a:r>
            <a:r>
              <a:rPr lang="cs-CZ" sz="3600" dirty="0"/>
              <a:t>  	Klasifikace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3600" b="1" dirty="0">
                <a:solidFill>
                  <a:srgbClr val="C00000"/>
                </a:solidFill>
              </a:rPr>
              <a:t>O</a:t>
            </a:r>
            <a:r>
              <a:rPr lang="cs-CZ" sz="3600" dirty="0"/>
              <a:t>	Optimalizace péče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3600" b="1" dirty="0">
                <a:solidFill>
                  <a:srgbClr val="C00000"/>
                </a:solidFill>
              </a:rPr>
              <a:t>M</a:t>
            </a:r>
            <a:r>
              <a:rPr lang="cs-CZ" sz="3600" dirty="0"/>
              <a:t>	Modely nákladů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3600" b="1" dirty="0">
                <a:solidFill>
                  <a:srgbClr val="C00000"/>
                </a:solidFill>
              </a:rPr>
              <a:t>P</a:t>
            </a:r>
            <a:r>
              <a:rPr lang="cs-CZ" sz="3600" dirty="0"/>
              <a:t>	Postupy a doporučení 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3600" b="1" dirty="0">
                <a:solidFill>
                  <a:srgbClr val="C00000"/>
                </a:solidFill>
              </a:rPr>
              <a:t>A</a:t>
            </a:r>
            <a:r>
              <a:rPr lang="cs-CZ" sz="3600" dirty="0"/>
              <a:t>	Akcent na kvalitu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3600" b="1" dirty="0">
                <a:solidFill>
                  <a:srgbClr val="C00000"/>
                </a:solidFill>
              </a:rPr>
              <a:t>S</a:t>
            </a:r>
            <a:r>
              <a:rPr lang="cs-CZ" sz="3600" dirty="0"/>
              <a:t>	Systémy domácí a komunitní péče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cs-CZ" sz="3600" dirty="0"/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3600" b="1" dirty="0"/>
              <a:t>Domácí a komunitní ošetřovatelská péče: </a:t>
            </a:r>
            <a:br>
              <a:rPr lang="cs-CZ" sz="3600" b="1" dirty="0"/>
            </a:br>
            <a:r>
              <a:rPr lang="cs-CZ" sz="3600" b="1" dirty="0"/>
              <a:t>Klasifikace, doporučené postupy a nákladové modely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34F86471-1FE0-A2E7-F3B1-8713042228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0643" y="160257"/>
            <a:ext cx="942040" cy="63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2928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0FD04866-022F-FAD2-1DF0-3077032541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50334" y="1422724"/>
            <a:ext cx="10482896" cy="368458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cs-CZ" dirty="0"/>
              <a:t>Klasifikace případů domácí péče dle složitosti a nákladů</a:t>
            </a:r>
          </a:p>
          <a:p>
            <a:pPr>
              <a:lnSpc>
                <a:spcPct val="150000"/>
              </a:lnSpc>
            </a:pPr>
            <a:r>
              <a:rPr lang="cs-CZ" dirty="0"/>
              <a:t>Transparentní model úhrady založený na potřebách</a:t>
            </a:r>
          </a:p>
          <a:p>
            <a:pPr>
              <a:lnSpc>
                <a:spcPct val="150000"/>
              </a:lnSpc>
            </a:pPr>
            <a:r>
              <a:rPr lang="cs-CZ" dirty="0"/>
              <a:t>Národní doporučené postupy a indikátory kvality</a:t>
            </a:r>
          </a:p>
          <a:p>
            <a:pPr>
              <a:lnSpc>
                <a:spcPct val="150000"/>
              </a:lnSpc>
            </a:pPr>
            <a:r>
              <a:rPr lang="cs-CZ" dirty="0"/>
              <a:t>Katalog veřejných služeb </a:t>
            </a:r>
            <a:br>
              <a:rPr lang="cs-CZ" dirty="0"/>
            </a:br>
            <a:endParaRPr lang="cs-CZ" dirty="0"/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FC7D622E-9A69-2183-6E47-DD1AABE4F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60257"/>
            <a:ext cx="9948403" cy="631595"/>
          </a:xfrm>
        </p:spPr>
        <p:txBody>
          <a:bodyPr>
            <a:noAutofit/>
          </a:bodyPr>
          <a:lstStyle/>
          <a:p>
            <a:r>
              <a:rPr lang="cs-CZ" b="1" dirty="0">
                <a:solidFill>
                  <a:srgbClr val="D71440"/>
                </a:solidFill>
                <a:latin typeface="+mn-lt"/>
                <a:ea typeface="+mn-ea"/>
                <a:cs typeface="+mn-cs"/>
              </a:rPr>
              <a:t>CÍLE PROJEKTU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1FECE441-43C7-8527-7152-72EE234C38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0643" y="160257"/>
            <a:ext cx="942040" cy="63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4083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5ED75C-E5EA-EC5F-435B-063A7ED43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975" y="160257"/>
            <a:ext cx="10243216" cy="631595"/>
          </a:xfrm>
        </p:spPr>
        <p:txBody>
          <a:bodyPr>
            <a:noAutofit/>
          </a:bodyPr>
          <a:lstStyle/>
          <a:p>
            <a:r>
              <a:rPr lang="cs-CZ" sz="4400" dirty="0"/>
              <a:t>KLÍČOVÉ AKTIVITY PROJEKTU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97AAC3B8-4AA1-5AF6-2A2F-3C0369D321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47945347"/>
              </p:ext>
            </p:extLst>
          </p:nvPr>
        </p:nvGraphicFramePr>
        <p:xfrm>
          <a:off x="556676" y="920827"/>
          <a:ext cx="11182834" cy="50163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A57D1176-46AE-9781-128B-85AC96CCA615}"/>
              </a:ext>
            </a:extLst>
          </p:cNvPr>
          <p:cNvSpPr txBox="1"/>
          <p:nvPr/>
        </p:nvSpPr>
        <p:spPr>
          <a:xfrm>
            <a:off x="7127754" y="5937173"/>
            <a:ext cx="461175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0B0004020202020204" pitchFamily="34" charset="0"/>
                <a:cs typeface="Times New Roman" panose="02020603050405020304" pitchFamily="18" charset="0"/>
              </a:rPr>
              <a:t>Celostátní datová síť</a:t>
            </a:r>
          </a:p>
        </p:txBody>
      </p:sp>
      <p:pic>
        <p:nvPicPr>
          <p:cNvPr id="7" name="Obrázek 6" descr="Obsah obrázku logo, Grafika, symbol, snímek obrazovky&#10;&#10;Popis byl vytvořen automaticky">
            <a:extLst>
              <a:ext uri="{FF2B5EF4-FFF2-40B4-BE49-F238E27FC236}">
                <a16:creationId xmlns:a16="http://schemas.microsoft.com/office/drawing/2014/main" id="{84035CF9-210C-C1A9-559B-9699210FDC6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90" y="5828533"/>
            <a:ext cx="3501011" cy="1029467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01C413CB-76B7-A449-12E1-4B4CC13E29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80643" y="160257"/>
            <a:ext cx="942040" cy="63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025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5ED75C-E5EA-EC5F-435B-063A7ED43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975" y="160257"/>
            <a:ext cx="10243216" cy="631595"/>
          </a:xfrm>
        </p:spPr>
        <p:txBody>
          <a:bodyPr>
            <a:noAutofit/>
          </a:bodyPr>
          <a:lstStyle/>
          <a:p>
            <a:r>
              <a:rPr lang="cs-CZ" sz="4400" dirty="0"/>
              <a:t>KLÍČOVÁ AKTIVITY 1</a:t>
            </a:r>
          </a:p>
        </p:txBody>
      </p:sp>
      <p:sp>
        <p:nvSpPr>
          <p:cNvPr id="4" name="Zástupný obsah 4">
            <a:extLst>
              <a:ext uri="{FF2B5EF4-FFF2-40B4-BE49-F238E27FC236}">
                <a16:creationId xmlns:a16="http://schemas.microsoft.com/office/drawing/2014/main" id="{D97287C5-D5CB-CF72-9CDA-8F4E87F84CA1}"/>
              </a:ext>
            </a:extLst>
          </p:cNvPr>
          <p:cNvSpPr txBox="1">
            <a:spLocks/>
          </p:cNvSpPr>
          <p:nvPr/>
        </p:nvSpPr>
        <p:spPr>
          <a:xfrm>
            <a:off x="623317" y="1168213"/>
            <a:ext cx="11182834" cy="501634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b="1" dirty="0">
                <a:solidFill>
                  <a:srgbClr val="C00000"/>
                </a:solidFill>
              </a:rPr>
              <a:t>Vytvoření systému sekundární </a:t>
            </a:r>
            <a:r>
              <a:rPr lang="cs-CZ" sz="2900" b="1" u="sng" dirty="0">
                <a:solidFill>
                  <a:srgbClr val="C00000"/>
                </a:solidFill>
              </a:rPr>
              <a:t>klasifikace případů 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cs-CZ" sz="2900" b="1" dirty="0">
              <a:solidFill>
                <a:srgbClr val="C00000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Cíl aktivity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dirty="0"/>
              <a:t>Zavést klasifikační systém pro </a:t>
            </a:r>
            <a:r>
              <a:rPr lang="cs-CZ" sz="2900" b="1" dirty="0"/>
              <a:t>případy domácí péče založený na obsahové a nákladové homogenitě</a:t>
            </a:r>
            <a:r>
              <a:rPr lang="cs-CZ" sz="2900" dirty="0"/>
              <a:t>, který umožní standardizované vykazování, analýzu a plánování péče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Výsledek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dirty="0"/>
              <a:t>Vytvořená a pilotně ověřená sekundární klasifikace případů domácí péče (odbornosti 913, 925, 926), pravidelně aktualizovaná, využitelná jako základ pro úhradový model a hodnocení efektivity poskytovaných služeb.</a:t>
            </a:r>
          </a:p>
        </p:txBody>
      </p:sp>
      <p:pic>
        <p:nvPicPr>
          <p:cNvPr id="5" name="Obrázek 4" descr="Obsah obrázku logo, Grafika, symbol, snímek obrazovky&#10;&#10;Popis byl vytvořen automaticky">
            <a:extLst>
              <a:ext uri="{FF2B5EF4-FFF2-40B4-BE49-F238E27FC236}">
                <a16:creationId xmlns:a16="http://schemas.microsoft.com/office/drawing/2014/main" id="{A07E0640-ADF8-67A2-661B-D362235321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90" y="5828533"/>
            <a:ext cx="3501011" cy="1029467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E7C12162-C1C9-989F-166F-925D7DB536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0643" y="160257"/>
            <a:ext cx="942040" cy="63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3273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5ED75C-E5EA-EC5F-435B-063A7ED43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975" y="160257"/>
            <a:ext cx="10243216" cy="631595"/>
          </a:xfrm>
        </p:spPr>
        <p:txBody>
          <a:bodyPr>
            <a:noAutofit/>
          </a:bodyPr>
          <a:lstStyle/>
          <a:p>
            <a:r>
              <a:rPr lang="cs-CZ" sz="4400" dirty="0"/>
              <a:t>KLÍČOVÁ AKTIVITY 2</a:t>
            </a:r>
          </a:p>
        </p:txBody>
      </p:sp>
      <p:sp>
        <p:nvSpPr>
          <p:cNvPr id="4" name="Zástupný obsah 4">
            <a:extLst>
              <a:ext uri="{FF2B5EF4-FFF2-40B4-BE49-F238E27FC236}">
                <a16:creationId xmlns:a16="http://schemas.microsoft.com/office/drawing/2014/main" id="{D97287C5-D5CB-CF72-9CDA-8F4E87F84CA1}"/>
              </a:ext>
            </a:extLst>
          </p:cNvPr>
          <p:cNvSpPr txBox="1">
            <a:spLocks/>
          </p:cNvSpPr>
          <p:nvPr/>
        </p:nvSpPr>
        <p:spPr>
          <a:xfrm>
            <a:off x="753946" y="1056246"/>
            <a:ext cx="11182834" cy="501634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b="1" dirty="0">
                <a:solidFill>
                  <a:srgbClr val="C00000"/>
                </a:solidFill>
              </a:rPr>
              <a:t>Ustavení </a:t>
            </a:r>
            <a:r>
              <a:rPr lang="cs-CZ" sz="2900" b="1" u="sng" dirty="0">
                <a:solidFill>
                  <a:srgbClr val="C00000"/>
                </a:solidFill>
              </a:rPr>
              <a:t>referenční sítě a sběr dat </a:t>
            </a:r>
            <a:r>
              <a:rPr lang="cs-CZ" sz="2900" b="1" dirty="0">
                <a:solidFill>
                  <a:srgbClr val="C00000"/>
                </a:solidFill>
              </a:rPr>
              <a:t>pro nacenění nákladovosti péče a tvorba úhradových modelů 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cs-CZ" sz="1200" b="1" dirty="0">
              <a:solidFill>
                <a:srgbClr val="C00000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Cíl aktivity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dirty="0"/>
              <a:t>Získat detailní data o nákladovosti, rozsahu a obsahu domácí péče prostřednictvím referenční sítě poskytovatelů, a vytvořit podklad pro návrh udržitelného úhradového modelu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Výsledek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dirty="0"/>
              <a:t>Funkční referenční síť s cca 100–120 poskytovateli napříč ČR, sběr validních dat o domácí péči, návrh úhradového modelu zohledňující kvalitu, komplexitu a nákladovost péče.</a:t>
            </a:r>
          </a:p>
        </p:txBody>
      </p:sp>
      <p:pic>
        <p:nvPicPr>
          <p:cNvPr id="5" name="Obrázek 4" descr="Obsah obrázku logo, Grafika, symbol, snímek obrazovky&#10;&#10;Popis byl vytvořen automaticky">
            <a:extLst>
              <a:ext uri="{FF2B5EF4-FFF2-40B4-BE49-F238E27FC236}">
                <a16:creationId xmlns:a16="http://schemas.microsoft.com/office/drawing/2014/main" id="{5373C828-9357-A291-1C05-9311564E3A2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90" y="5828533"/>
            <a:ext cx="3501011" cy="1029467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BF10A932-67D3-46A1-1709-24A2C4CAB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0643" y="160257"/>
            <a:ext cx="942040" cy="63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670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5ED75C-E5EA-EC5F-435B-063A7ED43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975" y="160257"/>
            <a:ext cx="10243216" cy="631595"/>
          </a:xfrm>
        </p:spPr>
        <p:txBody>
          <a:bodyPr>
            <a:noAutofit/>
          </a:bodyPr>
          <a:lstStyle/>
          <a:p>
            <a:r>
              <a:rPr lang="cs-CZ" sz="4400" dirty="0"/>
              <a:t>KLÍČOVÁ AKTIVITY 3</a:t>
            </a:r>
          </a:p>
        </p:txBody>
      </p:sp>
      <p:sp>
        <p:nvSpPr>
          <p:cNvPr id="4" name="Zástupný obsah 4">
            <a:extLst>
              <a:ext uri="{FF2B5EF4-FFF2-40B4-BE49-F238E27FC236}">
                <a16:creationId xmlns:a16="http://schemas.microsoft.com/office/drawing/2014/main" id="{D97287C5-D5CB-CF72-9CDA-8F4E87F84CA1}"/>
              </a:ext>
            </a:extLst>
          </p:cNvPr>
          <p:cNvSpPr txBox="1">
            <a:spLocks/>
          </p:cNvSpPr>
          <p:nvPr/>
        </p:nvSpPr>
        <p:spPr>
          <a:xfrm>
            <a:off x="556676" y="1326920"/>
            <a:ext cx="11182834" cy="501634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b="1" dirty="0">
                <a:solidFill>
                  <a:srgbClr val="C00000"/>
                </a:solidFill>
              </a:rPr>
              <a:t>Tvorba </a:t>
            </a:r>
            <a:r>
              <a:rPr lang="cs-CZ" sz="2900" b="1" u="sng" dirty="0">
                <a:solidFill>
                  <a:srgbClr val="C00000"/>
                </a:solidFill>
              </a:rPr>
              <a:t>katalogu zdravotních a sociálních služeb  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cs-CZ" sz="2900" b="1" dirty="0">
              <a:solidFill>
                <a:srgbClr val="C00000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Cíl aktivity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dirty="0"/>
              <a:t>Zvýšit informovanost a orientaci pacientů, pečujících i odborníků v nabídce domácí péče prostřednictvím přehledného katalogu služeb propojeného s mapovým nástrojem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Výsledek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dirty="0"/>
              <a:t>Interaktivní katalog a mapa poskytovatelů domácí péče dle odbornosti a lokality, automaticky aktualizovaný z dat ÚZIS a dostupný na platformě NZIP.</a:t>
            </a:r>
          </a:p>
        </p:txBody>
      </p:sp>
      <p:pic>
        <p:nvPicPr>
          <p:cNvPr id="5" name="Obrázek 4" descr="Obsah obrázku logo, Grafika, symbol, snímek obrazovky&#10;&#10;Popis byl vytvořen automaticky">
            <a:extLst>
              <a:ext uri="{FF2B5EF4-FFF2-40B4-BE49-F238E27FC236}">
                <a16:creationId xmlns:a16="http://schemas.microsoft.com/office/drawing/2014/main" id="{BCB34835-9735-6765-F2BA-6C385116A7D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90" y="5828533"/>
            <a:ext cx="3501011" cy="1029467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3223FDCE-A72D-F7B7-6636-664ABCBF83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0643" y="160257"/>
            <a:ext cx="942040" cy="63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34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5ED75C-E5EA-EC5F-435B-063A7ED43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975" y="160257"/>
            <a:ext cx="10243216" cy="631595"/>
          </a:xfrm>
        </p:spPr>
        <p:txBody>
          <a:bodyPr>
            <a:noAutofit/>
          </a:bodyPr>
          <a:lstStyle/>
          <a:p>
            <a:r>
              <a:rPr lang="cs-CZ" sz="4400" dirty="0"/>
              <a:t>KLÍČOVÁ AKTIVITY 4</a:t>
            </a:r>
          </a:p>
        </p:txBody>
      </p:sp>
      <p:sp>
        <p:nvSpPr>
          <p:cNvPr id="4" name="Zástupný obsah 4">
            <a:extLst>
              <a:ext uri="{FF2B5EF4-FFF2-40B4-BE49-F238E27FC236}">
                <a16:creationId xmlns:a16="http://schemas.microsoft.com/office/drawing/2014/main" id="{D97287C5-D5CB-CF72-9CDA-8F4E87F84CA1}"/>
              </a:ext>
            </a:extLst>
          </p:cNvPr>
          <p:cNvSpPr txBox="1">
            <a:spLocks/>
          </p:cNvSpPr>
          <p:nvPr/>
        </p:nvSpPr>
        <p:spPr>
          <a:xfrm>
            <a:off x="544975" y="802019"/>
            <a:ext cx="11182834" cy="501634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b="1" dirty="0">
                <a:solidFill>
                  <a:srgbClr val="C00000"/>
                </a:solidFill>
              </a:rPr>
              <a:t>Tvorba </a:t>
            </a:r>
            <a:r>
              <a:rPr lang="cs-CZ" sz="2900" b="1" u="sng" dirty="0">
                <a:solidFill>
                  <a:srgbClr val="C00000"/>
                </a:solidFill>
              </a:rPr>
              <a:t>doporučených postupů a indikátorů kvality 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Cíl aktivity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2900" dirty="0"/>
              <a:t>Zavést standardizované doporučené postupy a indikátory kvality pro domácí péči s cílem zvýšit bezpečí, efektivitu a jednotnost poskytovaných služeb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cs-CZ" sz="2900" b="1" dirty="0"/>
              <a:t>Výsledek: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cs-CZ" sz="2900" u="sng" dirty="0"/>
              <a:t>Organizace domácí péče: </a:t>
            </a:r>
            <a:r>
              <a:rPr lang="cs-CZ" sz="2900" dirty="0"/>
              <a:t>Indikace pro domácí péči, zahájení a ukončení péče, kontinuita a tok pacientů mezi systémy zdravotní a sociální péče.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cs-CZ" sz="2900" u="sng" dirty="0"/>
              <a:t>Kompetence poskytovatelů: </a:t>
            </a:r>
            <a:r>
              <a:rPr lang="cs-CZ" sz="2900" dirty="0"/>
              <a:t>Definice kompetencí jednotlivých profesí zapojených do poskytování zdravotní a sociální péče v domácím prostředí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cs-CZ" sz="2900" dirty="0"/>
              <a:t>10indikátorů kvality</a:t>
            </a:r>
          </a:p>
        </p:txBody>
      </p:sp>
      <p:pic>
        <p:nvPicPr>
          <p:cNvPr id="5" name="Obrázek 4" descr="Obsah obrázku logo, Grafika, symbol, snímek obrazovky&#10;&#10;Popis byl vytvořen automaticky">
            <a:extLst>
              <a:ext uri="{FF2B5EF4-FFF2-40B4-BE49-F238E27FC236}">
                <a16:creationId xmlns:a16="http://schemas.microsoft.com/office/drawing/2014/main" id="{9C5F57F8-858E-EE1F-1CBE-51EDB4B10D7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8987" y="5685301"/>
            <a:ext cx="3501011" cy="1029467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C5EB95D0-CC40-0F89-2502-C3B89E018E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0643" y="160257"/>
            <a:ext cx="942040" cy="63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2392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84FE74BB-1A15-4DFC-899B-26DB75AAD489}">
  <we:reference id="wa104381063" version="1.0.0.1" store="cs-CZ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10538</TotalTime>
  <Words>733</Words>
  <Application>Microsoft Office PowerPoint</Application>
  <PresentationFormat>Širokoúhlá obrazovka</PresentationFormat>
  <Paragraphs>93</Paragraphs>
  <Slides>14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4</vt:i4>
      </vt:variant>
    </vt:vector>
  </HeadingPairs>
  <TitlesOfParts>
    <vt:vector size="20" baseType="lpstr">
      <vt:lpstr>Aptos</vt:lpstr>
      <vt:lpstr>Arial</vt:lpstr>
      <vt:lpstr>Calibri</vt:lpstr>
      <vt:lpstr>Calibri Light</vt:lpstr>
      <vt:lpstr>1_Motiv Office</vt:lpstr>
      <vt:lpstr>2_Motiv Office</vt:lpstr>
      <vt:lpstr>KOMPAS – systémová podpora domácí péče v ČR</vt:lpstr>
      <vt:lpstr>VSTUPNÍ INFORMACE </vt:lpstr>
      <vt:lpstr>KOMPAS</vt:lpstr>
      <vt:lpstr>CÍLE PROJEKTU</vt:lpstr>
      <vt:lpstr>KLÍČOVÉ AKTIVITY PROJEKTU</vt:lpstr>
      <vt:lpstr>KLÍČOVÁ AKTIVITY 1</vt:lpstr>
      <vt:lpstr>KLÍČOVÁ AKTIVITY 2</vt:lpstr>
      <vt:lpstr>KLÍČOVÁ AKTIVITY 3</vt:lpstr>
      <vt:lpstr>KLÍČOVÁ AKTIVITY 4</vt:lpstr>
      <vt:lpstr>KLÍČOVÁ AKTIVITY 5</vt:lpstr>
      <vt:lpstr>BUDGET</vt:lpstr>
      <vt:lpstr> VÝSLEDKY A VÝSTUPY</vt:lpstr>
      <vt:lpstr>STRATEGICKÝ VÝZNAM</vt:lpstr>
      <vt:lpstr>Kvalitní domácí péče jako základ bezpečí a důstojnosti v každém vě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lková zátěž zhoubnými novotvary (C00–C97) v HKK</dc:title>
  <dc:creator>Talábová Adriana Bc.</dc:creator>
  <cp:lastModifiedBy>Hladíková Lenka, Mgr.</cp:lastModifiedBy>
  <cp:revision>460</cp:revision>
  <cp:lastPrinted>2025-06-09T07:05:27Z</cp:lastPrinted>
  <dcterms:created xsi:type="dcterms:W3CDTF">2020-12-08T10:19:25Z</dcterms:created>
  <dcterms:modified xsi:type="dcterms:W3CDTF">2025-06-10T09:4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93be096-951f-40f1-830d-c27b8a8c2c27_Enabled">
    <vt:lpwstr>true</vt:lpwstr>
  </property>
  <property fmtid="{D5CDD505-2E9C-101B-9397-08002B2CF9AE}" pid="3" name="MSIP_Label_c93be096-951f-40f1-830d-c27b8a8c2c27_SetDate">
    <vt:lpwstr>2025-06-09T07:16:34Z</vt:lpwstr>
  </property>
  <property fmtid="{D5CDD505-2E9C-101B-9397-08002B2CF9AE}" pid="4" name="MSIP_Label_c93be096-951f-40f1-830d-c27b8a8c2c27_Method">
    <vt:lpwstr>Standard</vt:lpwstr>
  </property>
  <property fmtid="{D5CDD505-2E9C-101B-9397-08002B2CF9AE}" pid="5" name="MSIP_Label_c93be096-951f-40f1-830d-c27b8a8c2c27_Name">
    <vt:lpwstr>defa4170-0d19-0005-0004-bc88714345d2</vt:lpwstr>
  </property>
  <property fmtid="{D5CDD505-2E9C-101B-9397-08002B2CF9AE}" pid="6" name="MSIP_Label_c93be096-951f-40f1-830d-c27b8a8c2c27_SiteId">
    <vt:lpwstr>00847377-d903-4047-af0c-776d9611e3e6</vt:lpwstr>
  </property>
  <property fmtid="{D5CDD505-2E9C-101B-9397-08002B2CF9AE}" pid="7" name="MSIP_Label_c93be096-951f-40f1-830d-c27b8a8c2c27_ActionId">
    <vt:lpwstr>e38ba70e-824a-4c06-8fc3-42004144aeeb</vt:lpwstr>
  </property>
  <property fmtid="{D5CDD505-2E9C-101B-9397-08002B2CF9AE}" pid="8" name="MSIP_Label_c93be096-951f-40f1-830d-c27b8a8c2c27_ContentBits">
    <vt:lpwstr>0</vt:lpwstr>
  </property>
  <property fmtid="{D5CDD505-2E9C-101B-9397-08002B2CF9AE}" pid="9" name="MSIP_Label_c93be096-951f-40f1-830d-c27b8a8c2c27_Tag">
    <vt:lpwstr>10, 3, 0, 1</vt:lpwstr>
  </property>
</Properties>
</file>